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4.xml" ContentType="application/vnd.openxmlformats-officedocument.theme+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5.xml" ContentType="application/vnd.openxmlformats-officedocument.theme+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theme/theme6.xml" ContentType="application/vnd.openxmlformats-officedocument.theme+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theme/theme7.xml" ContentType="application/vnd.openxmlformats-officedocument.theme+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8.xml" ContentType="application/vnd.openxmlformats-officedocument.theme+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omments/modernComment_308_C6AB2445.xml" ContentType="application/vnd.ms-powerpoint.comments+xml"/>
  <Override PartName="/ppt/comments/modernComment_312_2ADC05E6.xml" ContentType="application/vnd.ms-powerpoint.comments+xml"/>
  <Override PartName="/ppt/authors.xml" ContentType="application/vnd.ms-powerpoint.author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75" r:id="rId4"/>
    <p:sldMasterId id="2147483749" r:id="rId5"/>
    <p:sldMasterId id="2147483760" r:id="rId6"/>
    <p:sldMasterId id="2147483669" r:id="rId7"/>
    <p:sldMasterId id="2147484743" r:id="rId8"/>
    <p:sldMasterId id="2147483660" r:id="rId9"/>
    <p:sldMasterId id="2147485559" r:id="rId10"/>
    <p:sldMasterId id="2147485580" r:id="rId11"/>
    <p:sldMasterId id="2147485592" r:id="rId12"/>
  </p:sldMasterIdLst>
  <p:notesMasterIdLst>
    <p:notesMasterId r:id="rId55"/>
  </p:notesMasterIdLst>
  <p:sldIdLst>
    <p:sldId id="473" r:id="rId13"/>
    <p:sldId id="474" r:id="rId14"/>
    <p:sldId id="785" r:id="rId15"/>
    <p:sldId id="784" r:id="rId16"/>
    <p:sldId id="783" r:id="rId17"/>
    <p:sldId id="782" r:id="rId18"/>
    <p:sldId id="722" r:id="rId19"/>
    <p:sldId id="753" r:id="rId20"/>
    <p:sldId id="662" r:id="rId21"/>
    <p:sldId id="794" r:id="rId22"/>
    <p:sldId id="776" r:id="rId23"/>
    <p:sldId id="795" r:id="rId24"/>
    <p:sldId id="796" r:id="rId25"/>
    <p:sldId id="797" r:id="rId26"/>
    <p:sldId id="752" r:id="rId27"/>
    <p:sldId id="736" r:id="rId28"/>
    <p:sldId id="772" r:id="rId29"/>
    <p:sldId id="730" r:id="rId30"/>
    <p:sldId id="731" r:id="rId31"/>
    <p:sldId id="773" r:id="rId32"/>
    <p:sldId id="732" r:id="rId33"/>
    <p:sldId id="775" r:id="rId34"/>
    <p:sldId id="786" r:id="rId35"/>
    <p:sldId id="787" r:id="rId36"/>
    <p:sldId id="788" r:id="rId37"/>
    <p:sldId id="789" r:id="rId38"/>
    <p:sldId id="790" r:id="rId39"/>
    <p:sldId id="791" r:id="rId40"/>
    <p:sldId id="792" r:id="rId41"/>
    <p:sldId id="793" r:id="rId42"/>
    <p:sldId id="798" r:id="rId43"/>
    <p:sldId id="799" r:id="rId44"/>
    <p:sldId id="800" r:id="rId45"/>
    <p:sldId id="801" r:id="rId46"/>
    <p:sldId id="802" r:id="rId47"/>
    <p:sldId id="803" r:id="rId48"/>
    <p:sldId id="804" r:id="rId49"/>
    <p:sldId id="805" r:id="rId50"/>
    <p:sldId id="806" r:id="rId51"/>
    <p:sldId id="807" r:id="rId52"/>
    <p:sldId id="712" r:id="rId53"/>
    <p:sldId id="733" r:id="rId5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CF8223C-610E-2BBA-F33B-0E1F55F6BB33}" name="Patricia Ann Lee King" initials="PK" userId="S::pal094@ads.northwestern.edu::dbab7ec2-5444-4d21-afe7-a39974533ddc" providerId="AD"/>
  <p188:author id="{B1E8E1CE-C373-4BDB-0D3F-F84FE1DA86D4}" name="Eileen Fleming Suse" initials="ES" userId="S::efs3844@ads.northwestern.edu::725c94ef-d051-42d7-9d33-8572765d592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KARIAH, SOGI" initials="SS" lastIdx="2" clrIdx="0">
    <p:extLst>
      <p:ext uri="{19B8F6BF-5375-455C-9EA6-DF929625EA0E}">
        <p15:presenceInfo xmlns:p15="http://schemas.microsoft.com/office/powerpoint/2012/main" userId="S-1-5-21-3061956908-2738319542-621568764-36656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B93A"/>
    <a:srgbClr val="000000"/>
    <a:srgbClr val="004990"/>
    <a:srgbClr val="00F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2B1E238-4C2A-D92E-E59A-08B27597729B}" v="6" dt="2022-01-06T19:24:25.143"/>
    <p1510:client id="{0E937B76-9BD3-8B24-FA1C-0A0E902D617B}" v="1" dt="2023-02-20T16:17:18.361"/>
    <p1510:client id="{1065FF98-7D2C-8FA7-17FB-199FBEA08ECD}" v="341" dt="2022-11-18T20:33:41.281"/>
    <p1510:client id="{1A40D790-D28D-04B2-C7C4-687176AAA381}" v="85" dt="2022-08-15T15:56:30.524"/>
    <p1510:client id="{1C93407D-ACD5-CBAF-A31D-24F2F42240CC}" v="43" dt="2023-08-17T14:33:24.180"/>
    <p1510:client id="{1E92D12B-4C20-2714-25F1-6D2329BC6AA4}" v="6" dt="2022-08-15T16:15:41.452"/>
    <p1510:client id="{1EC12A19-F1A3-A6AE-4F47-CC5CE229D8A3}" v="338" dt="2022-08-15T14:54:21.676"/>
    <p1510:client id="{269344FF-4846-783D-307D-9AED31661A00}" v="568" dt="2022-08-12T18:35:41.375"/>
    <p1510:client id="{29B2CD9F-B3E2-58C5-1F0D-0C0E930C1402}" v="110" dt="2022-12-16T22:34:09.420"/>
    <p1510:client id="{3312F0BC-4CCF-136A-6BC8-2F8A30EE7DF6}" v="812" dt="2023-02-15T21:38:28.624"/>
    <p1510:client id="{3393E09D-6823-54A5-BA57-B78A019AE0D1}" v="20" dt="2022-09-15T14:42:46.075"/>
    <p1510:client id="{3C60B8CC-9221-E8A5-0960-0ECFF4890C30}" v="13" dt="2022-11-18T20:51:44.070"/>
    <p1510:client id="{3D00F3B1-ADA2-83E7-4559-6C9AE67CF50E}" v="12" dt="2022-08-15T15:00:31.651"/>
    <p1510:client id="{3FAB20C9-158D-476A-DB8C-63E4496546A3}" v="4" dt="2022-11-17T21:48:58.671"/>
    <p1510:client id="{4BB1E083-9C20-85D9-6972-7FD6F455E9C8}" v="9" dt="2022-04-12T14:45:20.579"/>
    <p1510:client id="{5149C471-5901-CBF1-0667-5E16D18CFE97}" v="5" dt="2022-04-13T21:11:16.082"/>
    <p1510:client id="{5AD68556-2E38-2E16-DDBD-ADFA1BF33217}" v="17" dt="2023-02-15T15:22:51.705"/>
    <p1510:client id="{5ADB333C-FBEF-8CE2-4555-6344C08B8908}" v="13" dt="2023-02-15T16:43:54.736"/>
    <p1510:client id="{5B79F81C-2E4A-C9E3-532C-AE879B7CD8EB}" v="1733" dt="2022-09-17T14:01:24.034"/>
    <p1510:client id="{5E400571-2AF9-8EF6-BF98-C0B72037BFA1}" v="445" dt="2022-07-07T21:13:32.466"/>
    <p1510:client id="{5E48E709-9BEA-9FE9-975A-72F714D0DB86}" v="1456" dt="2022-08-12T14:53:59.653"/>
    <p1510:client id="{6453D58A-1654-8002-0A61-A0BEB834EB25}" v="55" dt="2022-07-12T18:46:19.401"/>
    <p1510:client id="{664A7847-F42C-73F2-EFBC-CF7B29771E5E}" v="182" dt="2022-09-15T14:03:59.932"/>
    <p1510:client id="{67A41A09-4EFE-0202-D99A-EE9795743DF1}" v="3" dt="2023-02-20T17:39:38.662"/>
    <p1510:client id="{6CED6023-9C22-4A49-4C99-5EC0EA4B9547}" v="232" dt="2022-11-18T16:55:00.071"/>
    <p1510:client id="{736CBBEF-737A-8973-8DEC-508AE005629B}" v="272" dt="2022-03-16T18:19:39.437"/>
    <p1510:client id="{76BDCA5D-13BA-AB31-5040-9DC496812E45}" v="120" dt="2022-09-15T13:32:35.342"/>
    <p1510:client id="{7B4B1147-CE0C-EE5C-A6FA-62EE28FE5BF9}" v="230" dt="2022-09-13T19:24:57.175"/>
    <p1510:client id="{7CD2BEBF-8356-57E4-C78F-A7473CE15C4B}" v="25" dt="2022-02-15T21:43:52.698"/>
    <p1510:client id="{8061A811-DF81-C6AB-F76F-10C5B066A54C}" v="65" dt="2022-01-11T19:55:59.319"/>
    <p1510:client id="{83BE5CB4-A051-B035-3DEF-0C430F1858FE}" v="96" dt="2022-08-12T18:37:42.010"/>
    <p1510:client id="{83CC736C-FEF7-E911-A4A1-452C54D955CF}" v="5" dt="2023-02-15T15:26:56.343"/>
    <p1510:client id="{8415CCCE-CC17-1FF9-834E-CAD5AAD05F35}" v="102" dt="2022-01-07T20:11:40.195"/>
    <p1510:client id="{844845A5-3763-79E9-7008-DB54CEEBFDB7}" v="259" dt="2023-03-17T13:57:29.558"/>
    <p1510:client id="{885877D2-6AA6-C420-462F-80EB224E3617}" v="45" dt="2022-01-06T19:17:25.548"/>
    <p1510:client id="{8F5C0187-F3C3-3FA5-B76A-D982D5577C42}" v="186" dt="2023-08-15T18:27:05.459"/>
    <p1510:client id="{9192EAE3-2AB4-389F-1E78-27FC9B59DA70}" v="111" dt="2022-08-12T16:44:30.678"/>
    <p1510:client id="{94FD356C-E2C9-3E8F-BA8C-1BC2496C1E7A}" v="52" dt="2022-01-12T20:55:27.927"/>
    <p1510:client id="{9C9ED0D4-E974-61AE-4E63-A2C7B0B407EC}" v="1506" dt="2022-02-17T15:45:03.984"/>
    <p1510:client id="{A3A1F360-E086-AB1D-4704-43006C872997}" v="226" dt="2022-02-15T22:22:37.147"/>
    <p1510:client id="{A5A12800-AE51-EF51-53BE-21BEB18E6D20}" v="13" dt="2022-11-18T20:24:06.435"/>
    <p1510:client id="{A6A12EF1-C57B-651D-5999-3F346A7AB3A0}" v="30" dt="2022-11-18T18:04:43.783"/>
    <p1510:client id="{A7044E19-EB69-F9BF-8326-30E2DC4F122E}" v="1" dt="2023-03-17T18:05:07.716"/>
    <p1510:client id="{AB897C91-A6DD-3E5C-AE5D-44FE0466F207}" v="24" dt="2022-09-15T18:24:14.292"/>
    <p1510:client id="{B0E044C7-629B-2AB1-3B3B-C95682749D35}" v="15" dt="2022-11-15T20:58:51.216"/>
    <p1510:client id="{B37092B6-266D-47AC-9908-05590BBAC1FA}" v="15" dt="2022-08-15T15:57:25.856"/>
    <p1510:client id="{B7B63780-50CF-48F2-2667-6B8979388E7E}" v="20" dt="2022-09-12T21:04:59.334"/>
    <p1510:client id="{B9EE3F52-F075-6E9D-52ED-144888B1DDC6}" v="224" dt="2022-04-13T18:47:08.223"/>
    <p1510:client id="{BEAF99F2-DA12-88A0-D486-2256389DF5D9}" v="80" dt="2022-09-15T14:37:52.460"/>
    <p1510:client id="{BFC83655-C0D4-EEF7-D8EE-647482D4167C}" v="71" dt="2022-11-17T15:31:56.429"/>
    <p1510:client id="{C2E56D31-2A0D-1E51-CA88-FCD0DE728A09}" v="76" dt="2023-03-20T13:04:03.050"/>
    <p1510:client id="{C6BDDCD3-89F1-580E-7BFC-7F2718D45B17}" v="21" dt="2022-01-10T20:48:49.340"/>
    <p1510:client id="{C7606A9C-9CB9-F464-6A64-7ABA8F00FBCB}" v="10" dt="2022-03-15T18:42:11.756"/>
    <p1510:client id="{D3A4DDAE-F601-1EA1-8B08-9A196E8F2085}" v="44" dt="2022-02-16T19:49:42.058"/>
    <p1510:client id="{D539DE43-767F-6D85-1F7B-262C91C5507D}" v="54" dt="2022-11-18T19:17:42.244"/>
    <p1510:client id="{D7E50710-5184-2727-85A0-95DC86302ABC}" v="137" dt="2023-03-16T18:00:42.059"/>
    <p1510:client id="{D8264469-AF1A-8E71-AB52-77DB782F7211}" v="2" dt="2022-11-16T15:45:32.144"/>
    <p1510:client id="{DFB4B5D6-3697-6B30-A53C-AA143537344A}" v="336" dt="2023-08-16T14:44:36.231"/>
    <p1510:client id="{E291CD8A-77D5-F1ED-CF1D-C084A813397C}" v="114" dt="2023-03-16T17:47:05.934"/>
    <p1510:client id="{FED126FC-6EA2-C570-317C-FD894A051D8A}" v="1" dt="2022-09-15T19:20:23.50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9" d="100"/>
          <a:sy n="79" d="100"/>
        </p:scale>
        <p:origin x="821" y="7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slide" Target="slides/slide38.xml"/><Relationship Id="rId55" Type="http://schemas.openxmlformats.org/officeDocument/2006/relationships/notesMaster" Target="notesMasters/notesMaster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viewProps" Target="viewProps.xml"/><Relationship Id="rId5" Type="http://schemas.openxmlformats.org/officeDocument/2006/relationships/slideMaster" Target="slideMasters/slideMaster2.xml"/><Relationship Id="rId61" Type="http://schemas.microsoft.com/office/2018/10/relationships/authors" Target="authors.xml"/><Relationship Id="rId19" Type="http://schemas.openxmlformats.org/officeDocument/2006/relationships/slide" Target="slides/slide7.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slide" Target="slides/slide39.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theme" Target="theme/theme1.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presProps" Target="presProps.xml"/><Relationship Id="rId10" Type="http://schemas.openxmlformats.org/officeDocument/2006/relationships/slideMaster" Target="slideMasters/slideMaster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comments/modernComment_308_C6AB2445.xml><?xml version="1.0" encoding="utf-8"?>
<p188:cmLst xmlns:a="http://schemas.openxmlformats.org/drawingml/2006/main" xmlns:r="http://schemas.openxmlformats.org/officeDocument/2006/relationships" xmlns:p188="http://schemas.microsoft.com/office/powerpoint/2018/8/main">
  <p188:cm id="{DD7DA532-7AAE-4734-AFDD-ACB488330374}" authorId="{B1E8E1CE-C373-4BDB-0D3F-F84FE1DA86D4}" created="2023-08-16T14:44:03.340">
    <ac:txMkLst xmlns:ac="http://schemas.microsoft.com/office/drawing/2013/main/command">
      <pc:docMk xmlns:pc="http://schemas.microsoft.com/office/powerpoint/2013/main/command"/>
      <pc:sldMk xmlns:pc="http://schemas.microsoft.com/office/powerpoint/2013/main/command" cId="3333104709" sldId="776"/>
      <ac:spMk id="2" creationId="{DBCA75B9-BA14-D6A6-AAD8-E12B33A35E09}"/>
      <ac:txMk cp="0" len="10">
        <ac:context len="11" hash="14455625"/>
      </ac:txMk>
    </ac:txMkLst>
    <p188:pos x="2243070" y="611746"/>
    <p188:txBody>
      <a:bodyPr/>
      <a:lstStyle/>
      <a:p>
        <a:r>
          <a:rPr lang="en-US"/>
          <a:t>[@Daniel L Weiss] please update BASIC Data slides.</a:t>
        </a:r>
      </a:p>
    </p188:txBody>
  </p188:cm>
</p188:cmLst>
</file>

<file path=ppt/comments/modernComment_312_2ADC05E6.xml><?xml version="1.0" encoding="utf-8"?>
<p188:cmLst xmlns:a="http://schemas.openxmlformats.org/drawingml/2006/main" xmlns:r="http://schemas.openxmlformats.org/officeDocument/2006/relationships" xmlns:p188="http://schemas.microsoft.com/office/powerpoint/2018/8/main">
  <p188:cm id="{8425A034-7617-493D-8728-2C6C9EB15D90}" authorId="{B1E8E1CE-C373-4BDB-0D3F-F84FE1DA86D4}" created="2023-08-16T14:44:36.231">
    <ac:txMkLst xmlns:ac="http://schemas.microsoft.com/office/drawing/2013/main/command">
      <pc:docMk xmlns:pc="http://schemas.microsoft.com/office/powerpoint/2013/main/command"/>
      <pc:sldMk xmlns:pc="http://schemas.microsoft.com/office/powerpoint/2013/main/command" cId="719062502" sldId="786"/>
      <ac:spMk id="2" creationId="{652A0957-91BB-5D79-D3B2-1C0041280B37}"/>
      <ac:txMk cp="0" len="16">
        <ac:context len="17" hash="797279509"/>
      </ac:txMk>
    </ac:txMkLst>
    <p188:pos x="3402169" y="1631323"/>
    <p188:txBody>
      <a:bodyPr/>
      <a:lstStyle/>
      <a:p>
        <a:r>
          <a:rPr lang="en-US"/>
          <a:t>[@Daniel L Weiss] please add in BASIC sustainability team talk slides when we get them!</a:t>
        </a:r>
      </a:p>
    </p188:txBody>
  </p188:cm>
</p188:cmLst>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2CED47C-38E7-467C-8A1C-1BD722891462}" type="doc">
      <dgm:prSet loTypeId="urn:microsoft.com/office/officeart/2005/8/layout/list1" loCatId="list" qsTypeId="urn:microsoft.com/office/officeart/2005/8/quickstyle/simple1" qsCatId="simple" csTypeId="urn:microsoft.com/office/officeart/2005/8/colors/colorful2" csCatId="colorful" phldr="1"/>
      <dgm:spPr/>
      <dgm:t>
        <a:bodyPr/>
        <a:lstStyle/>
        <a:p>
          <a:endParaRPr lang="en-US"/>
        </a:p>
      </dgm:t>
    </dgm:pt>
    <dgm:pt modelId="{DF8C36AC-D358-44C1-8CCF-864E48E9EE34}">
      <dgm:prSet phldrT="[Text]" phldr="0"/>
      <dgm:spPr/>
      <dgm:t>
        <a:bodyPr/>
        <a:lstStyle/>
        <a:p>
          <a:pPr rtl="0"/>
          <a:r>
            <a:rPr lang="en-US">
              <a:latin typeface="Calibri" panose="020F0502020204030204"/>
            </a:rPr>
            <a:t> </a:t>
          </a:r>
          <a:r>
            <a:rPr lang="en-US" b="1">
              <a:solidFill>
                <a:schemeClr val="accent1"/>
              </a:solidFill>
              <a:latin typeface="Calibri" panose="020F0502020204030204"/>
            </a:rPr>
            <a:t>Submit your Data!</a:t>
          </a:r>
          <a:r>
            <a:rPr lang="en-US" b="1">
              <a:latin typeface="Calibri" panose="020F0502020204030204"/>
            </a:rPr>
            <a:t> </a:t>
          </a:r>
          <a:endParaRPr lang="en-US" b="1">
            <a:solidFill>
              <a:schemeClr val="accent1"/>
            </a:solidFill>
            <a:latin typeface="Calibri" panose="020F0502020204030204"/>
          </a:endParaRPr>
        </a:p>
      </dgm:t>
    </dgm:pt>
    <dgm:pt modelId="{77454E31-4BF7-45E4-A61C-C06BAD198ECF}" type="parTrans" cxnId="{F1C85135-8472-433E-98BE-532497A42780}">
      <dgm:prSet/>
      <dgm:spPr/>
      <dgm:t>
        <a:bodyPr/>
        <a:lstStyle/>
        <a:p>
          <a:endParaRPr lang="en-US"/>
        </a:p>
      </dgm:t>
    </dgm:pt>
    <dgm:pt modelId="{62C93ADB-50F5-4FEA-A9D2-CBD05A488FB7}" type="sibTrans" cxnId="{F1C85135-8472-433E-98BE-532497A42780}">
      <dgm:prSet/>
      <dgm:spPr/>
      <dgm:t>
        <a:bodyPr/>
        <a:lstStyle/>
        <a:p>
          <a:endParaRPr lang="en-US"/>
        </a:p>
      </dgm:t>
    </dgm:pt>
    <dgm:pt modelId="{277CB91B-1C42-48E8-9BA7-10FC79E64F8E}">
      <dgm:prSet phldrT="[Text]" phldr="0"/>
      <dgm:spPr/>
      <dgm:t>
        <a:bodyPr/>
        <a:lstStyle/>
        <a:p>
          <a:pPr rtl="0"/>
          <a:r>
            <a:rPr lang="en-US" b="1">
              <a:solidFill>
                <a:schemeClr val="accent1"/>
              </a:solidFill>
              <a:latin typeface="Calibri" panose="020F0502020204030204"/>
            </a:rPr>
            <a:t>Call for Abstracts! </a:t>
          </a:r>
          <a:endParaRPr lang="en-US" b="1">
            <a:solidFill>
              <a:schemeClr val="accent1"/>
            </a:solidFill>
          </a:endParaRPr>
        </a:p>
      </dgm:t>
    </dgm:pt>
    <dgm:pt modelId="{03D7C569-4529-4991-A0C2-8E79BCD76571}" type="parTrans" cxnId="{DBC449FF-D23E-4F26-BCA7-82B94996073D}">
      <dgm:prSet/>
      <dgm:spPr/>
      <dgm:t>
        <a:bodyPr/>
        <a:lstStyle/>
        <a:p>
          <a:endParaRPr lang="en-US"/>
        </a:p>
      </dgm:t>
    </dgm:pt>
    <dgm:pt modelId="{93624452-662B-4F58-934A-EBE2E5B0D4AB}" type="sibTrans" cxnId="{DBC449FF-D23E-4F26-BCA7-82B94996073D}">
      <dgm:prSet/>
      <dgm:spPr/>
      <dgm:t>
        <a:bodyPr/>
        <a:lstStyle/>
        <a:p>
          <a:endParaRPr lang="en-US"/>
        </a:p>
      </dgm:t>
    </dgm:pt>
    <dgm:pt modelId="{78D4CC8F-2595-4059-ACA1-7005FE483A37}">
      <dgm:prSet phldrT="[Text]" phldr="0"/>
      <dgm:spPr/>
      <dgm:t>
        <a:bodyPr/>
        <a:lstStyle/>
        <a:p>
          <a:pPr rtl="0"/>
          <a:r>
            <a:rPr lang="en-US">
              <a:latin typeface="Calibri" panose="020F0502020204030204"/>
            </a:rPr>
            <a:t> </a:t>
          </a:r>
          <a:r>
            <a:rPr lang="en-US" b="1">
              <a:latin typeface="Calibri" panose="020F0502020204030204"/>
            </a:rPr>
            <a:t>Info coming soon!</a:t>
          </a:r>
          <a:r>
            <a:rPr lang="en-US">
              <a:latin typeface="Calibri" panose="020F0502020204030204"/>
            </a:rPr>
            <a:t> All hospital teams are asked to submit an abstract on QI work (can be in progress).</a:t>
          </a:r>
          <a:endParaRPr lang="en-US"/>
        </a:p>
      </dgm:t>
    </dgm:pt>
    <dgm:pt modelId="{A251C99C-8B3D-40DF-81A9-D7542C43875E}" type="parTrans" cxnId="{4FCE7C92-D06E-417F-8E44-A664565D79CE}">
      <dgm:prSet/>
      <dgm:spPr/>
      <dgm:t>
        <a:bodyPr/>
        <a:lstStyle/>
        <a:p>
          <a:endParaRPr lang="en-US"/>
        </a:p>
      </dgm:t>
    </dgm:pt>
    <dgm:pt modelId="{881FC4F4-45E5-4ACC-B91A-47999364CD20}" type="sibTrans" cxnId="{4FCE7C92-D06E-417F-8E44-A664565D79CE}">
      <dgm:prSet/>
      <dgm:spPr/>
      <dgm:t>
        <a:bodyPr/>
        <a:lstStyle/>
        <a:p>
          <a:endParaRPr lang="en-US"/>
        </a:p>
      </dgm:t>
    </dgm:pt>
    <dgm:pt modelId="{6F528CE6-C1A3-4D2B-81A0-CFCEB0EBAD90}">
      <dgm:prSet phldr="0"/>
      <dgm:spPr/>
      <dgm:t>
        <a:bodyPr/>
        <a:lstStyle/>
        <a:p>
          <a:pPr rtl="0"/>
          <a:r>
            <a:rPr lang="en-US" b="1" u="none">
              <a:solidFill>
                <a:schemeClr val="accent1"/>
              </a:solidFill>
              <a:latin typeface="Calibri" panose="020F0502020204030204"/>
            </a:rPr>
            <a:t>ILPQC Annual Conference </a:t>
          </a:r>
          <a:r>
            <a:rPr lang="en-US" b="1">
              <a:solidFill>
                <a:schemeClr val="accent1"/>
              </a:solidFill>
              <a:latin typeface="Calibri" panose="020F0502020204030204"/>
            </a:rPr>
            <a:t>Survey! </a:t>
          </a:r>
        </a:p>
      </dgm:t>
    </dgm:pt>
    <dgm:pt modelId="{62346CA0-5B88-4CE8-914A-B6CEB57871F1}" type="parTrans" cxnId="{B6080AEF-5965-4743-A061-CDC32CC39582}">
      <dgm:prSet/>
      <dgm:spPr/>
    </dgm:pt>
    <dgm:pt modelId="{45C9E60D-23B6-41EB-9B7D-9BC15733F6D1}" type="sibTrans" cxnId="{B6080AEF-5965-4743-A061-CDC32CC39582}">
      <dgm:prSet/>
      <dgm:spPr/>
    </dgm:pt>
    <dgm:pt modelId="{9A286409-755C-47F6-978F-0B1056CDF2D2}">
      <dgm:prSet phldr="0"/>
      <dgm:spPr/>
      <dgm:t>
        <a:bodyPr/>
        <a:lstStyle/>
        <a:p>
          <a:pPr rtl="0"/>
          <a:r>
            <a:rPr lang="en-US">
              <a:latin typeface="Calibri" panose="020F0502020204030204"/>
            </a:rPr>
            <a:t>We want to hear from you! </a:t>
          </a:r>
          <a:r>
            <a:rPr lang="en-US" b="1">
              <a:latin typeface="Calibri" panose="020F0502020204030204"/>
            </a:rPr>
            <a:t>Survey opening soon! </a:t>
          </a:r>
          <a:endParaRPr lang="en-US" b="1"/>
        </a:p>
      </dgm:t>
    </dgm:pt>
    <dgm:pt modelId="{9291BA0D-48AB-4364-A092-0919F94C1470}" type="parTrans" cxnId="{8D6E092E-58C8-4D72-B870-0D2F549755C5}">
      <dgm:prSet/>
      <dgm:spPr/>
    </dgm:pt>
    <dgm:pt modelId="{EDFE8248-1123-45BE-80CC-ED04D63ECAF9}" type="sibTrans" cxnId="{8D6E092E-58C8-4D72-B870-0D2F549755C5}">
      <dgm:prSet/>
      <dgm:spPr/>
    </dgm:pt>
    <dgm:pt modelId="{F521A60E-AF20-4BC8-BB3E-652F6286D34A}">
      <dgm:prSet phldr="0"/>
      <dgm:spPr/>
      <dgm:t>
        <a:bodyPr/>
        <a:lstStyle/>
        <a:p>
          <a:pPr rtl="0"/>
          <a:r>
            <a:rPr lang="en-US">
              <a:latin typeface="Calibri" panose="020F0502020204030204"/>
            </a:rPr>
            <a:t>This is a great opportunity to share your teams' thoughts &amp; insights reflecting on 2023 and planning for 2024!</a:t>
          </a:r>
        </a:p>
      </dgm:t>
    </dgm:pt>
    <dgm:pt modelId="{B9351DEB-1B71-494B-81A5-B8A2DF00679D}" type="parTrans" cxnId="{07D213BB-362D-4146-B0ED-D8CC3F3F30C5}">
      <dgm:prSet/>
      <dgm:spPr/>
    </dgm:pt>
    <dgm:pt modelId="{50985435-0157-41A4-B0CC-BC30B5F0CED9}" type="sibTrans" cxnId="{07D213BB-362D-4146-B0ED-D8CC3F3F30C5}">
      <dgm:prSet/>
      <dgm:spPr/>
    </dgm:pt>
    <dgm:pt modelId="{7DB66FD1-DB95-4E83-9973-27B94C4E32F0}">
      <dgm:prSet phldr="0"/>
      <dgm:spPr/>
      <dgm:t>
        <a:bodyPr/>
        <a:lstStyle/>
        <a:p>
          <a:r>
            <a:rPr lang="en-US">
              <a:latin typeface="Calibri" panose="020F0502020204030204"/>
            </a:rPr>
            <a:t>All data baseline-August 2023 will be </a:t>
          </a:r>
          <a:r>
            <a:rPr lang="en-US" b="1">
              <a:latin typeface="Calibri" panose="020F0502020204030204"/>
            </a:rPr>
            <a:t>due on September 22nd, 2023,</a:t>
          </a:r>
          <a:r>
            <a:rPr lang="en-US">
              <a:latin typeface="Calibri" panose="020F0502020204030204"/>
            </a:rPr>
            <a:t> for award consideration.</a:t>
          </a:r>
          <a:endParaRPr lang="en-US" b="1"/>
        </a:p>
      </dgm:t>
    </dgm:pt>
    <dgm:pt modelId="{8ADBA68A-2F57-443B-A36D-89F41C697784}" type="parTrans" cxnId="{D091DFF4-39E8-4F5A-B8FF-9951A0C5E310}">
      <dgm:prSet/>
      <dgm:spPr/>
    </dgm:pt>
    <dgm:pt modelId="{CBC0D908-B9A4-4932-BF1F-5715E8C42184}" type="sibTrans" cxnId="{D091DFF4-39E8-4F5A-B8FF-9951A0C5E310}">
      <dgm:prSet/>
      <dgm:spPr/>
    </dgm:pt>
    <dgm:pt modelId="{7DE4044A-91ED-4C0D-84FC-AFAFFCE36CC7}" type="pres">
      <dgm:prSet presAssocID="{92CED47C-38E7-467C-8A1C-1BD722891462}" presName="linear" presStyleCnt="0">
        <dgm:presLayoutVars>
          <dgm:dir/>
          <dgm:animLvl val="lvl"/>
          <dgm:resizeHandles val="exact"/>
        </dgm:presLayoutVars>
      </dgm:prSet>
      <dgm:spPr/>
      <dgm:t>
        <a:bodyPr/>
        <a:lstStyle/>
        <a:p>
          <a:endParaRPr lang="en-US"/>
        </a:p>
      </dgm:t>
    </dgm:pt>
    <dgm:pt modelId="{0AF318F5-4834-4567-8FBD-BAC7ADA6E4BF}" type="pres">
      <dgm:prSet presAssocID="{DF8C36AC-D358-44C1-8CCF-864E48E9EE34}" presName="parentLin" presStyleCnt="0"/>
      <dgm:spPr/>
    </dgm:pt>
    <dgm:pt modelId="{01652856-29DD-4888-97C1-C7B2FCEF24C9}" type="pres">
      <dgm:prSet presAssocID="{DF8C36AC-D358-44C1-8CCF-864E48E9EE34}" presName="parentLeftMargin" presStyleLbl="node1" presStyleIdx="0" presStyleCnt="3"/>
      <dgm:spPr/>
      <dgm:t>
        <a:bodyPr/>
        <a:lstStyle/>
        <a:p>
          <a:endParaRPr lang="en-US"/>
        </a:p>
      </dgm:t>
    </dgm:pt>
    <dgm:pt modelId="{717BC3C2-DA22-4D51-A406-9086CACDDF9B}" type="pres">
      <dgm:prSet presAssocID="{DF8C36AC-D358-44C1-8CCF-864E48E9EE34}" presName="parentText" presStyleLbl="node1" presStyleIdx="0" presStyleCnt="3">
        <dgm:presLayoutVars>
          <dgm:chMax val="0"/>
          <dgm:bulletEnabled val="1"/>
        </dgm:presLayoutVars>
      </dgm:prSet>
      <dgm:spPr/>
      <dgm:t>
        <a:bodyPr/>
        <a:lstStyle/>
        <a:p>
          <a:endParaRPr lang="en-US"/>
        </a:p>
      </dgm:t>
    </dgm:pt>
    <dgm:pt modelId="{04A28FF3-818A-4AA3-9665-79EF4E644B0D}" type="pres">
      <dgm:prSet presAssocID="{DF8C36AC-D358-44C1-8CCF-864E48E9EE34}" presName="negativeSpace" presStyleCnt="0"/>
      <dgm:spPr/>
    </dgm:pt>
    <dgm:pt modelId="{42DD2E0E-F49E-4BE0-95A3-709CC9C0A47F}" type="pres">
      <dgm:prSet presAssocID="{DF8C36AC-D358-44C1-8CCF-864E48E9EE34}" presName="childText" presStyleLbl="conFgAcc1" presStyleIdx="0" presStyleCnt="3">
        <dgm:presLayoutVars>
          <dgm:bulletEnabled val="1"/>
        </dgm:presLayoutVars>
      </dgm:prSet>
      <dgm:spPr/>
      <dgm:t>
        <a:bodyPr/>
        <a:lstStyle/>
        <a:p>
          <a:endParaRPr lang="en-US"/>
        </a:p>
      </dgm:t>
    </dgm:pt>
    <dgm:pt modelId="{96D6F8AA-A05E-497C-B1A2-9318F555889E}" type="pres">
      <dgm:prSet presAssocID="{62C93ADB-50F5-4FEA-A9D2-CBD05A488FB7}" presName="spaceBetweenRectangles" presStyleCnt="0"/>
      <dgm:spPr/>
    </dgm:pt>
    <dgm:pt modelId="{5EDFE944-C54E-4409-BF67-DBDA9FFC256E}" type="pres">
      <dgm:prSet presAssocID="{277CB91B-1C42-48E8-9BA7-10FC79E64F8E}" presName="parentLin" presStyleCnt="0"/>
      <dgm:spPr/>
    </dgm:pt>
    <dgm:pt modelId="{87C4B48B-7C7D-4887-B26E-D734DA9A8C50}" type="pres">
      <dgm:prSet presAssocID="{277CB91B-1C42-48E8-9BA7-10FC79E64F8E}" presName="parentLeftMargin" presStyleLbl="node1" presStyleIdx="0" presStyleCnt="3"/>
      <dgm:spPr/>
      <dgm:t>
        <a:bodyPr/>
        <a:lstStyle/>
        <a:p>
          <a:endParaRPr lang="en-US"/>
        </a:p>
      </dgm:t>
    </dgm:pt>
    <dgm:pt modelId="{C8372599-BDA9-4E62-9184-ABA50695DEAE}" type="pres">
      <dgm:prSet presAssocID="{277CB91B-1C42-48E8-9BA7-10FC79E64F8E}" presName="parentText" presStyleLbl="node1" presStyleIdx="1" presStyleCnt="3">
        <dgm:presLayoutVars>
          <dgm:chMax val="0"/>
          <dgm:bulletEnabled val="1"/>
        </dgm:presLayoutVars>
      </dgm:prSet>
      <dgm:spPr/>
      <dgm:t>
        <a:bodyPr/>
        <a:lstStyle/>
        <a:p>
          <a:endParaRPr lang="en-US"/>
        </a:p>
      </dgm:t>
    </dgm:pt>
    <dgm:pt modelId="{242C1C7A-827F-45AF-84C9-2577967EF3C1}" type="pres">
      <dgm:prSet presAssocID="{277CB91B-1C42-48E8-9BA7-10FC79E64F8E}" presName="negativeSpace" presStyleCnt="0"/>
      <dgm:spPr/>
    </dgm:pt>
    <dgm:pt modelId="{6C17968B-3B40-4894-B40F-C49EEEEE87D3}" type="pres">
      <dgm:prSet presAssocID="{277CB91B-1C42-48E8-9BA7-10FC79E64F8E}" presName="childText" presStyleLbl="conFgAcc1" presStyleIdx="1" presStyleCnt="3">
        <dgm:presLayoutVars>
          <dgm:bulletEnabled val="1"/>
        </dgm:presLayoutVars>
      </dgm:prSet>
      <dgm:spPr/>
      <dgm:t>
        <a:bodyPr/>
        <a:lstStyle/>
        <a:p>
          <a:endParaRPr lang="en-US"/>
        </a:p>
      </dgm:t>
    </dgm:pt>
    <dgm:pt modelId="{6D9D424A-D22D-4A76-852C-DEFDD3829FDE}" type="pres">
      <dgm:prSet presAssocID="{93624452-662B-4F58-934A-EBE2E5B0D4AB}" presName="spaceBetweenRectangles" presStyleCnt="0"/>
      <dgm:spPr/>
    </dgm:pt>
    <dgm:pt modelId="{FF60C45A-813C-4053-A09D-7269275F80DB}" type="pres">
      <dgm:prSet presAssocID="{6F528CE6-C1A3-4D2B-81A0-CFCEB0EBAD90}" presName="parentLin" presStyleCnt="0"/>
      <dgm:spPr/>
    </dgm:pt>
    <dgm:pt modelId="{BAFEC78A-8DAD-47F6-AE20-1A6B32AC01A4}" type="pres">
      <dgm:prSet presAssocID="{6F528CE6-C1A3-4D2B-81A0-CFCEB0EBAD90}" presName="parentLeftMargin" presStyleLbl="node1" presStyleIdx="1" presStyleCnt="3"/>
      <dgm:spPr/>
      <dgm:t>
        <a:bodyPr/>
        <a:lstStyle/>
        <a:p>
          <a:endParaRPr lang="en-US"/>
        </a:p>
      </dgm:t>
    </dgm:pt>
    <dgm:pt modelId="{ECEB8BDC-F220-41C1-B502-A535EC67DE59}" type="pres">
      <dgm:prSet presAssocID="{6F528CE6-C1A3-4D2B-81A0-CFCEB0EBAD90}" presName="parentText" presStyleLbl="node1" presStyleIdx="2" presStyleCnt="3">
        <dgm:presLayoutVars>
          <dgm:chMax val="0"/>
          <dgm:bulletEnabled val="1"/>
        </dgm:presLayoutVars>
      </dgm:prSet>
      <dgm:spPr/>
      <dgm:t>
        <a:bodyPr/>
        <a:lstStyle/>
        <a:p>
          <a:endParaRPr lang="en-US"/>
        </a:p>
      </dgm:t>
    </dgm:pt>
    <dgm:pt modelId="{FE42D628-BBA6-4E36-AA67-F2E179A15711}" type="pres">
      <dgm:prSet presAssocID="{6F528CE6-C1A3-4D2B-81A0-CFCEB0EBAD90}" presName="negativeSpace" presStyleCnt="0"/>
      <dgm:spPr/>
    </dgm:pt>
    <dgm:pt modelId="{E42B4496-FBF8-4DC9-AF60-BFE77B144112}" type="pres">
      <dgm:prSet presAssocID="{6F528CE6-C1A3-4D2B-81A0-CFCEB0EBAD90}" presName="childText" presStyleLbl="conFgAcc1" presStyleIdx="2" presStyleCnt="3">
        <dgm:presLayoutVars>
          <dgm:bulletEnabled val="1"/>
        </dgm:presLayoutVars>
      </dgm:prSet>
      <dgm:spPr/>
      <dgm:t>
        <a:bodyPr/>
        <a:lstStyle/>
        <a:p>
          <a:endParaRPr lang="en-US"/>
        </a:p>
      </dgm:t>
    </dgm:pt>
  </dgm:ptLst>
  <dgm:cxnLst>
    <dgm:cxn modelId="{DBC449FF-D23E-4F26-BCA7-82B94996073D}" srcId="{92CED47C-38E7-467C-8A1C-1BD722891462}" destId="{277CB91B-1C42-48E8-9BA7-10FC79E64F8E}" srcOrd="1" destOrd="0" parTransId="{03D7C569-4529-4991-A0C2-8E79BCD76571}" sibTransId="{93624452-662B-4F58-934A-EBE2E5B0D4AB}"/>
    <dgm:cxn modelId="{D091DFF4-39E8-4F5A-B8FF-9951A0C5E310}" srcId="{DF8C36AC-D358-44C1-8CCF-864E48E9EE34}" destId="{7DB66FD1-DB95-4E83-9973-27B94C4E32F0}" srcOrd="0" destOrd="0" parTransId="{8ADBA68A-2F57-443B-A36D-89F41C697784}" sibTransId="{CBC0D908-B9A4-4932-BF1F-5715E8C42184}"/>
    <dgm:cxn modelId="{4FCE7C92-D06E-417F-8E44-A664565D79CE}" srcId="{277CB91B-1C42-48E8-9BA7-10FC79E64F8E}" destId="{78D4CC8F-2595-4059-ACA1-7005FE483A37}" srcOrd="0" destOrd="0" parTransId="{A251C99C-8B3D-40DF-81A9-D7542C43875E}" sibTransId="{881FC4F4-45E5-4ACC-B91A-47999364CD20}"/>
    <dgm:cxn modelId="{CEE86E2C-B6FA-4185-B7D7-1277DB647415}" type="presOf" srcId="{DF8C36AC-D358-44C1-8CCF-864E48E9EE34}" destId="{717BC3C2-DA22-4D51-A406-9086CACDDF9B}" srcOrd="1" destOrd="0" presId="urn:microsoft.com/office/officeart/2005/8/layout/list1"/>
    <dgm:cxn modelId="{ABBFFE2D-DDF7-4F85-BE66-4DCEC96F45D5}" type="presOf" srcId="{DF8C36AC-D358-44C1-8CCF-864E48E9EE34}" destId="{01652856-29DD-4888-97C1-C7B2FCEF24C9}" srcOrd="0" destOrd="0" presId="urn:microsoft.com/office/officeart/2005/8/layout/list1"/>
    <dgm:cxn modelId="{F1C85135-8472-433E-98BE-532497A42780}" srcId="{92CED47C-38E7-467C-8A1C-1BD722891462}" destId="{DF8C36AC-D358-44C1-8CCF-864E48E9EE34}" srcOrd="0" destOrd="0" parTransId="{77454E31-4BF7-45E4-A61C-C06BAD198ECF}" sibTransId="{62C93ADB-50F5-4FEA-A9D2-CBD05A488FB7}"/>
    <dgm:cxn modelId="{689E2010-A57F-4069-8200-CA3F718006C6}" type="presOf" srcId="{6F528CE6-C1A3-4D2B-81A0-CFCEB0EBAD90}" destId="{BAFEC78A-8DAD-47F6-AE20-1A6B32AC01A4}" srcOrd="0" destOrd="0" presId="urn:microsoft.com/office/officeart/2005/8/layout/list1"/>
    <dgm:cxn modelId="{CB76AE88-F6B6-4082-AB18-69E71E6EF410}" type="presOf" srcId="{277CB91B-1C42-48E8-9BA7-10FC79E64F8E}" destId="{C8372599-BDA9-4E62-9184-ABA50695DEAE}" srcOrd="1" destOrd="0" presId="urn:microsoft.com/office/officeart/2005/8/layout/list1"/>
    <dgm:cxn modelId="{BD6ED9E6-8181-4AA6-A77D-C77FAC08F3CC}" type="presOf" srcId="{7DB66FD1-DB95-4E83-9973-27B94C4E32F0}" destId="{42DD2E0E-F49E-4BE0-95A3-709CC9C0A47F}" srcOrd="0" destOrd="0" presId="urn:microsoft.com/office/officeart/2005/8/layout/list1"/>
    <dgm:cxn modelId="{DA88B244-F5E5-4611-97DA-659C633A7587}" type="presOf" srcId="{277CB91B-1C42-48E8-9BA7-10FC79E64F8E}" destId="{87C4B48B-7C7D-4887-B26E-D734DA9A8C50}" srcOrd="0" destOrd="0" presId="urn:microsoft.com/office/officeart/2005/8/layout/list1"/>
    <dgm:cxn modelId="{11047979-4753-4BCF-91C8-FE4A8274277B}" type="presOf" srcId="{F521A60E-AF20-4BC8-BB3E-652F6286D34A}" destId="{E42B4496-FBF8-4DC9-AF60-BFE77B144112}" srcOrd="0" destOrd="1" presId="urn:microsoft.com/office/officeart/2005/8/layout/list1"/>
    <dgm:cxn modelId="{8D6E092E-58C8-4D72-B870-0D2F549755C5}" srcId="{6F528CE6-C1A3-4D2B-81A0-CFCEB0EBAD90}" destId="{9A286409-755C-47F6-978F-0B1056CDF2D2}" srcOrd="0" destOrd="0" parTransId="{9291BA0D-48AB-4364-A092-0919F94C1470}" sibTransId="{EDFE8248-1123-45BE-80CC-ED04D63ECAF9}"/>
    <dgm:cxn modelId="{07D213BB-362D-4146-B0ED-D8CC3F3F30C5}" srcId="{6F528CE6-C1A3-4D2B-81A0-CFCEB0EBAD90}" destId="{F521A60E-AF20-4BC8-BB3E-652F6286D34A}" srcOrd="1" destOrd="0" parTransId="{B9351DEB-1B71-494B-81A5-B8A2DF00679D}" sibTransId="{50985435-0157-41A4-B0CC-BC30B5F0CED9}"/>
    <dgm:cxn modelId="{52E3AE29-C5CC-4C79-9B26-CB7C82A1B121}" type="presOf" srcId="{6F528CE6-C1A3-4D2B-81A0-CFCEB0EBAD90}" destId="{ECEB8BDC-F220-41C1-B502-A535EC67DE59}" srcOrd="1" destOrd="0" presId="urn:microsoft.com/office/officeart/2005/8/layout/list1"/>
    <dgm:cxn modelId="{46EEE999-2E03-44F0-A90F-B50F08D0E928}" type="presOf" srcId="{78D4CC8F-2595-4059-ACA1-7005FE483A37}" destId="{6C17968B-3B40-4894-B40F-C49EEEEE87D3}" srcOrd="0" destOrd="0" presId="urn:microsoft.com/office/officeart/2005/8/layout/list1"/>
    <dgm:cxn modelId="{B88307E1-DB9A-4185-9FD6-DC8C1FDCC158}" type="presOf" srcId="{92CED47C-38E7-467C-8A1C-1BD722891462}" destId="{7DE4044A-91ED-4C0D-84FC-AFAFFCE36CC7}" srcOrd="0" destOrd="0" presId="urn:microsoft.com/office/officeart/2005/8/layout/list1"/>
    <dgm:cxn modelId="{96164656-556B-4B15-8824-70096B5A10BD}" type="presOf" srcId="{9A286409-755C-47F6-978F-0B1056CDF2D2}" destId="{E42B4496-FBF8-4DC9-AF60-BFE77B144112}" srcOrd="0" destOrd="0" presId="urn:microsoft.com/office/officeart/2005/8/layout/list1"/>
    <dgm:cxn modelId="{B6080AEF-5965-4743-A061-CDC32CC39582}" srcId="{92CED47C-38E7-467C-8A1C-1BD722891462}" destId="{6F528CE6-C1A3-4D2B-81A0-CFCEB0EBAD90}" srcOrd="2" destOrd="0" parTransId="{62346CA0-5B88-4CE8-914A-B6CEB57871F1}" sibTransId="{45C9E60D-23B6-41EB-9B7D-9BC15733F6D1}"/>
    <dgm:cxn modelId="{F598E0C5-698C-4C12-A200-96A226695F17}" type="presParOf" srcId="{7DE4044A-91ED-4C0D-84FC-AFAFFCE36CC7}" destId="{0AF318F5-4834-4567-8FBD-BAC7ADA6E4BF}" srcOrd="0" destOrd="0" presId="urn:microsoft.com/office/officeart/2005/8/layout/list1"/>
    <dgm:cxn modelId="{70251976-2130-4A94-B16A-3B5A9305CA4C}" type="presParOf" srcId="{0AF318F5-4834-4567-8FBD-BAC7ADA6E4BF}" destId="{01652856-29DD-4888-97C1-C7B2FCEF24C9}" srcOrd="0" destOrd="0" presId="urn:microsoft.com/office/officeart/2005/8/layout/list1"/>
    <dgm:cxn modelId="{7E5DF192-5CA2-4743-8D91-DA01A23D9FBA}" type="presParOf" srcId="{0AF318F5-4834-4567-8FBD-BAC7ADA6E4BF}" destId="{717BC3C2-DA22-4D51-A406-9086CACDDF9B}" srcOrd="1" destOrd="0" presId="urn:microsoft.com/office/officeart/2005/8/layout/list1"/>
    <dgm:cxn modelId="{587F3F18-48F1-4286-A694-4A4837377C2F}" type="presParOf" srcId="{7DE4044A-91ED-4C0D-84FC-AFAFFCE36CC7}" destId="{04A28FF3-818A-4AA3-9665-79EF4E644B0D}" srcOrd="1" destOrd="0" presId="urn:microsoft.com/office/officeart/2005/8/layout/list1"/>
    <dgm:cxn modelId="{9F96B43D-B488-4FA7-8F81-18FF593519A1}" type="presParOf" srcId="{7DE4044A-91ED-4C0D-84FC-AFAFFCE36CC7}" destId="{42DD2E0E-F49E-4BE0-95A3-709CC9C0A47F}" srcOrd="2" destOrd="0" presId="urn:microsoft.com/office/officeart/2005/8/layout/list1"/>
    <dgm:cxn modelId="{08E7A6ED-E07F-4F22-848B-04309F821B43}" type="presParOf" srcId="{7DE4044A-91ED-4C0D-84FC-AFAFFCE36CC7}" destId="{96D6F8AA-A05E-497C-B1A2-9318F555889E}" srcOrd="3" destOrd="0" presId="urn:microsoft.com/office/officeart/2005/8/layout/list1"/>
    <dgm:cxn modelId="{E899D341-20F3-4075-B6A4-B66CDC8E5253}" type="presParOf" srcId="{7DE4044A-91ED-4C0D-84FC-AFAFFCE36CC7}" destId="{5EDFE944-C54E-4409-BF67-DBDA9FFC256E}" srcOrd="4" destOrd="0" presId="urn:microsoft.com/office/officeart/2005/8/layout/list1"/>
    <dgm:cxn modelId="{EAD0CA07-7229-47DB-8397-299350D240F8}" type="presParOf" srcId="{5EDFE944-C54E-4409-BF67-DBDA9FFC256E}" destId="{87C4B48B-7C7D-4887-B26E-D734DA9A8C50}" srcOrd="0" destOrd="0" presId="urn:microsoft.com/office/officeart/2005/8/layout/list1"/>
    <dgm:cxn modelId="{1125D0F0-7743-4E52-941F-124BBA4FBFB1}" type="presParOf" srcId="{5EDFE944-C54E-4409-BF67-DBDA9FFC256E}" destId="{C8372599-BDA9-4E62-9184-ABA50695DEAE}" srcOrd="1" destOrd="0" presId="urn:microsoft.com/office/officeart/2005/8/layout/list1"/>
    <dgm:cxn modelId="{41827606-E482-451B-B7CA-35C3BAC5D202}" type="presParOf" srcId="{7DE4044A-91ED-4C0D-84FC-AFAFFCE36CC7}" destId="{242C1C7A-827F-45AF-84C9-2577967EF3C1}" srcOrd="5" destOrd="0" presId="urn:microsoft.com/office/officeart/2005/8/layout/list1"/>
    <dgm:cxn modelId="{571DCCBA-4A66-4C4D-90E9-7EC330E3B65B}" type="presParOf" srcId="{7DE4044A-91ED-4C0D-84FC-AFAFFCE36CC7}" destId="{6C17968B-3B40-4894-B40F-C49EEEEE87D3}" srcOrd="6" destOrd="0" presId="urn:microsoft.com/office/officeart/2005/8/layout/list1"/>
    <dgm:cxn modelId="{828C073A-CFB1-4DF4-B5AA-4AA7A1230DD9}" type="presParOf" srcId="{7DE4044A-91ED-4C0D-84FC-AFAFFCE36CC7}" destId="{6D9D424A-D22D-4A76-852C-DEFDD3829FDE}" srcOrd="7" destOrd="0" presId="urn:microsoft.com/office/officeart/2005/8/layout/list1"/>
    <dgm:cxn modelId="{D04DD9C6-CF71-406F-9D44-5E4ED946CCC3}" type="presParOf" srcId="{7DE4044A-91ED-4C0D-84FC-AFAFFCE36CC7}" destId="{FF60C45A-813C-4053-A09D-7269275F80DB}" srcOrd="8" destOrd="0" presId="urn:microsoft.com/office/officeart/2005/8/layout/list1"/>
    <dgm:cxn modelId="{1F5D41D6-586F-4CFC-9D46-6F9559BD0964}" type="presParOf" srcId="{FF60C45A-813C-4053-A09D-7269275F80DB}" destId="{BAFEC78A-8DAD-47F6-AE20-1A6B32AC01A4}" srcOrd="0" destOrd="0" presId="urn:microsoft.com/office/officeart/2005/8/layout/list1"/>
    <dgm:cxn modelId="{299DB85B-A170-4236-8DA7-222EF7277397}" type="presParOf" srcId="{FF60C45A-813C-4053-A09D-7269275F80DB}" destId="{ECEB8BDC-F220-41C1-B502-A535EC67DE59}" srcOrd="1" destOrd="0" presId="urn:microsoft.com/office/officeart/2005/8/layout/list1"/>
    <dgm:cxn modelId="{60D4A476-6DEB-4799-9BA4-37A1E40B44AB}" type="presParOf" srcId="{7DE4044A-91ED-4C0D-84FC-AFAFFCE36CC7}" destId="{FE42D628-BBA6-4E36-AA67-F2E179A15711}" srcOrd="9" destOrd="0" presId="urn:microsoft.com/office/officeart/2005/8/layout/list1"/>
    <dgm:cxn modelId="{0716B8FC-BB6C-4CD5-AA60-3E687E178435}" type="presParOf" srcId="{7DE4044A-91ED-4C0D-84FC-AFAFFCE36CC7}" destId="{E42B4496-FBF8-4DC9-AF60-BFE77B144112}"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F73AF28-FBFC-4F77-8C5A-BA6B5F4A23D4}" type="doc">
      <dgm:prSet loTypeId="urn:microsoft.com/office/officeart/2005/8/layout/default" loCatId="list" qsTypeId="urn:microsoft.com/office/officeart/2005/8/quickstyle/simple4" qsCatId="simple" csTypeId="urn:microsoft.com/office/officeart/2005/8/colors/accent3_2" csCatId="accent3" phldr="1"/>
      <dgm:spPr/>
      <dgm:t>
        <a:bodyPr/>
        <a:lstStyle/>
        <a:p>
          <a:endParaRPr lang="en-US"/>
        </a:p>
      </dgm:t>
    </dgm:pt>
    <dgm:pt modelId="{8E0DBB0E-1040-4445-90DC-8EBC438FEE29}">
      <dgm:prSet/>
      <dgm:spPr/>
      <dgm:t>
        <a:bodyPr/>
        <a:lstStyle/>
        <a:p>
          <a:pPr rtl="0"/>
          <a:r>
            <a:rPr lang="en-US" dirty="0">
              <a:latin typeface="Sabon Next LT"/>
              <a:cs typeface="Sabon Next LT"/>
            </a:rPr>
            <a:t>RN education on obtaining blood culture before antibiotics</a:t>
          </a:r>
        </a:p>
      </dgm:t>
    </dgm:pt>
    <dgm:pt modelId="{5CCC6D6E-3480-4B4B-9101-975C3AC8E24D}" type="parTrans" cxnId="{A67EB7FD-F033-4D69-B06A-E6612072AB21}">
      <dgm:prSet/>
      <dgm:spPr/>
      <dgm:t>
        <a:bodyPr/>
        <a:lstStyle/>
        <a:p>
          <a:endParaRPr lang="en-US"/>
        </a:p>
      </dgm:t>
    </dgm:pt>
    <dgm:pt modelId="{2276C3C5-2B34-4019-861F-1E4CDED0FA1F}" type="sibTrans" cxnId="{A67EB7FD-F033-4D69-B06A-E6612072AB21}">
      <dgm:prSet/>
      <dgm:spPr/>
      <dgm:t>
        <a:bodyPr/>
        <a:lstStyle/>
        <a:p>
          <a:endParaRPr lang="en-US"/>
        </a:p>
      </dgm:t>
    </dgm:pt>
    <dgm:pt modelId="{B0814A88-1869-45F3-8885-95DB7723DB36}">
      <dgm:prSet/>
      <dgm:spPr/>
      <dgm:t>
        <a:bodyPr/>
        <a:lstStyle/>
        <a:p>
          <a:r>
            <a:rPr lang="en-US" dirty="0"/>
            <a:t>Neonatal Early-Onset Sepsis Calculator added into EPIC Flowsheet</a:t>
          </a:r>
        </a:p>
      </dgm:t>
    </dgm:pt>
    <dgm:pt modelId="{D2BBEAAE-2982-4902-8C31-6F3369A27136}" type="parTrans" cxnId="{65F811BB-D298-428E-BA2E-F37E910D4B72}">
      <dgm:prSet/>
      <dgm:spPr/>
      <dgm:t>
        <a:bodyPr/>
        <a:lstStyle/>
        <a:p>
          <a:endParaRPr lang="en-US"/>
        </a:p>
      </dgm:t>
    </dgm:pt>
    <dgm:pt modelId="{272CFDC5-0CD9-4828-AAC3-97D19E9CFB87}" type="sibTrans" cxnId="{65F811BB-D298-428E-BA2E-F37E910D4B72}">
      <dgm:prSet/>
      <dgm:spPr/>
      <dgm:t>
        <a:bodyPr/>
        <a:lstStyle/>
        <a:p>
          <a:endParaRPr lang="en-US"/>
        </a:p>
      </dgm:t>
    </dgm:pt>
    <dgm:pt modelId="{97A1A76D-3CC2-4A81-9C0D-896C72A10941}">
      <dgm:prSet/>
      <dgm:spPr/>
      <dgm:t>
        <a:bodyPr/>
        <a:lstStyle/>
        <a:p>
          <a:r>
            <a:rPr lang="en-US" dirty="0"/>
            <a:t>Automatic stop time added to physician order set</a:t>
          </a:r>
        </a:p>
      </dgm:t>
    </dgm:pt>
    <dgm:pt modelId="{DFC717C7-5097-44BD-BC35-E03101F34666}" type="parTrans" cxnId="{E20CB5E6-E590-4EF1-9EF9-0CAB28E8D05B}">
      <dgm:prSet/>
      <dgm:spPr/>
      <dgm:t>
        <a:bodyPr/>
        <a:lstStyle/>
        <a:p>
          <a:endParaRPr lang="en-US"/>
        </a:p>
      </dgm:t>
    </dgm:pt>
    <dgm:pt modelId="{62F9542D-5387-4507-A023-FDD926B49EAA}" type="sibTrans" cxnId="{E20CB5E6-E590-4EF1-9EF9-0CAB28E8D05B}">
      <dgm:prSet/>
      <dgm:spPr/>
      <dgm:t>
        <a:bodyPr/>
        <a:lstStyle/>
        <a:p>
          <a:endParaRPr lang="en-US"/>
        </a:p>
      </dgm:t>
    </dgm:pt>
    <dgm:pt modelId="{D92D96EC-DA2A-496F-A6CA-DC8166ACAAAA}">
      <dgm:prSet/>
      <dgm:spPr/>
      <dgm:t>
        <a:bodyPr/>
        <a:lstStyle/>
        <a:p>
          <a:pPr rtl="0"/>
          <a:r>
            <a:rPr lang="en-US" dirty="0">
              <a:latin typeface="Sabon Next LT"/>
              <a:cs typeface="Sabon Next LT"/>
            </a:rPr>
            <a:t>Review data in pediatrics bi-annual meeting &amp; unit practice committee</a:t>
          </a:r>
        </a:p>
      </dgm:t>
    </dgm:pt>
    <dgm:pt modelId="{05602EFA-9E76-48F5-8303-9C7F4298A78D}" type="parTrans" cxnId="{1BAA04E9-221F-456B-8803-248D5FB9B3FA}">
      <dgm:prSet/>
      <dgm:spPr/>
      <dgm:t>
        <a:bodyPr/>
        <a:lstStyle/>
        <a:p>
          <a:endParaRPr lang="en-US"/>
        </a:p>
      </dgm:t>
    </dgm:pt>
    <dgm:pt modelId="{F2E39974-89BA-4142-AFA2-803EDBCCD301}" type="sibTrans" cxnId="{1BAA04E9-221F-456B-8803-248D5FB9B3FA}">
      <dgm:prSet/>
      <dgm:spPr/>
      <dgm:t>
        <a:bodyPr/>
        <a:lstStyle/>
        <a:p>
          <a:endParaRPr lang="en-US"/>
        </a:p>
      </dgm:t>
    </dgm:pt>
    <dgm:pt modelId="{98DE357F-6DA3-47E6-B3CA-3DCF9BB5D29A}">
      <dgm:prSet/>
      <dgm:spPr/>
      <dgm:t>
        <a:bodyPr/>
        <a:lstStyle/>
        <a:p>
          <a:pPr rtl="0"/>
          <a:r>
            <a:rPr lang="en-US" dirty="0">
              <a:latin typeface="Sabon Next LT"/>
              <a:cs typeface="Sabon Next LT"/>
            </a:rPr>
            <a:t>Educated staff on changes and updates in staff meetings </a:t>
          </a:r>
        </a:p>
      </dgm:t>
    </dgm:pt>
    <dgm:pt modelId="{1A130BED-8AB3-4C5C-A4BE-F7073CFC9B2B}" type="parTrans" cxnId="{DBB05FE1-CE32-47B1-B982-EA37317CAC06}">
      <dgm:prSet/>
      <dgm:spPr/>
      <dgm:t>
        <a:bodyPr/>
        <a:lstStyle/>
        <a:p>
          <a:endParaRPr lang="en-US"/>
        </a:p>
      </dgm:t>
    </dgm:pt>
    <dgm:pt modelId="{D901C645-623D-47D2-92A5-654D7A49EAC7}" type="sibTrans" cxnId="{DBB05FE1-CE32-47B1-B982-EA37317CAC06}">
      <dgm:prSet/>
      <dgm:spPr/>
      <dgm:t>
        <a:bodyPr/>
        <a:lstStyle/>
        <a:p>
          <a:endParaRPr lang="en-US"/>
        </a:p>
      </dgm:t>
    </dgm:pt>
    <dgm:pt modelId="{4EA03094-0922-430B-881A-5DE56B33FD01}">
      <dgm:prSet/>
      <dgm:spPr/>
      <dgm:t>
        <a:bodyPr/>
        <a:lstStyle/>
        <a:p>
          <a:r>
            <a:rPr lang="en-US" dirty="0">
              <a:latin typeface="Sabon Next LT"/>
              <a:cs typeface="Sabon Next LT"/>
            </a:rPr>
            <a:t>Debriefings on fallouts as needed</a:t>
          </a:r>
        </a:p>
      </dgm:t>
    </dgm:pt>
    <dgm:pt modelId="{4D9C059A-A3AE-4A2D-857F-B5B763267C1D}" type="parTrans" cxnId="{D0A450DC-EBC9-4EB5-BAE6-F23575C84381}">
      <dgm:prSet/>
      <dgm:spPr/>
      <dgm:t>
        <a:bodyPr/>
        <a:lstStyle/>
        <a:p>
          <a:endParaRPr lang="en-US"/>
        </a:p>
      </dgm:t>
    </dgm:pt>
    <dgm:pt modelId="{1DC5F8ED-FB40-4933-9BAF-DBA7CB3DE11E}" type="sibTrans" cxnId="{D0A450DC-EBC9-4EB5-BAE6-F23575C84381}">
      <dgm:prSet/>
      <dgm:spPr/>
      <dgm:t>
        <a:bodyPr/>
        <a:lstStyle/>
        <a:p>
          <a:endParaRPr lang="en-US"/>
        </a:p>
      </dgm:t>
    </dgm:pt>
    <dgm:pt modelId="{BA865310-9E99-4C55-BACD-157924292CAA}">
      <dgm:prSet phldr="0"/>
      <dgm:spPr/>
      <dgm:t>
        <a:bodyPr/>
        <a:lstStyle/>
        <a:p>
          <a:pPr rtl="0"/>
          <a:r>
            <a:rPr lang="en-US" dirty="0">
              <a:latin typeface="Sabon Next LT"/>
              <a:cs typeface="Sabon Next LT"/>
            </a:rPr>
            <a:t>Physician support from Medical Director &amp; Neonatologist</a:t>
          </a:r>
        </a:p>
      </dgm:t>
    </dgm:pt>
    <dgm:pt modelId="{91038900-29B7-4D4D-A78D-B6FA8652680E}" type="parTrans" cxnId="{5433A1C0-3D3B-4013-8760-A40C74C2297E}">
      <dgm:prSet/>
      <dgm:spPr/>
    </dgm:pt>
    <dgm:pt modelId="{FB917C2C-8429-4F7A-9B20-321346ACC18D}" type="sibTrans" cxnId="{5433A1C0-3D3B-4013-8760-A40C74C2297E}">
      <dgm:prSet/>
      <dgm:spPr/>
    </dgm:pt>
    <dgm:pt modelId="{551F2342-461E-4743-8D9B-4FC49893D28B}" type="pres">
      <dgm:prSet presAssocID="{8F73AF28-FBFC-4F77-8C5A-BA6B5F4A23D4}" presName="diagram" presStyleCnt="0">
        <dgm:presLayoutVars>
          <dgm:dir/>
          <dgm:resizeHandles val="exact"/>
        </dgm:presLayoutVars>
      </dgm:prSet>
      <dgm:spPr/>
      <dgm:t>
        <a:bodyPr/>
        <a:lstStyle/>
        <a:p>
          <a:endParaRPr lang="en-US"/>
        </a:p>
      </dgm:t>
    </dgm:pt>
    <dgm:pt modelId="{BE7BEB69-1F28-4196-8629-D1C1877FDAC1}" type="pres">
      <dgm:prSet presAssocID="{8E0DBB0E-1040-4445-90DC-8EBC438FEE29}" presName="node" presStyleLbl="node1" presStyleIdx="0" presStyleCnt="7">
        <dgm:presLayoutVars>
          <dgm:bulletEnabled val="1"/>
        </dgm:presLayoutVars>
      </dgm:prSet>
      <dgm:spPr/>
      <dgm:t>
        <a:bodyPr/>
        <a:lstStyle/>
        <a:p>
          <a:endParaRPr lang="en-US"/>
        </a:p>
      </dgm:t>
    </dgm:pt>
    <dgm:pt modelId="{E902C3C4-09D9-4835-B5C5-D06632C56AB8}" type="pres">
      <dgm:prSet presAssocID="{2276C3C5-2B34-4019-861F-1E4CDED0FA1F}" presName="sibTrans" presStyleCnt="0"/>
      <dgm:spPr/>
    </dgm:pt>
    <dgm:pt modelId="{8D936A78-5768-4539-A286-82AFC57E1292}" type="pres">
      <dgm:prSet presAssocID="{B0814A88-1869-45F3-8885-95DB7723DB36}" presName="node" presStyleLbl="node1" presStyleIdx="1" presStyleCnt="7">
        <dgm:presLayoutVars>
          <dgm:bulletEnabled val="1"/>
        </dgm:presLayoutVars>
      </dgm:prSet>
      <dgm:spPr/>
      <dgm:t>
        <a:bodyPr/>
        <a:lstStyle/>
        <a:p>
          <a:endParaRPr lang="en-US"/>
        </a:p>
      </dgm:t>
    </dgm:pt>
    <dgm:pt modelId="{8EC468C0-326A-4BC9-93CA-97CA1C818335}" type="pres">
      <dgm:prSet presAssocID="{272CFDC5-0CD9-4828-AAC3-97D19E9CFB87}" presName="sibTrans" presStyleCnt="0"/>
      <dgm:spPr/>
    </dgm:pt>
    <dgm:pt modelId="{4F150A9F-73C7-4D0E-BBA6-5BCE108CE456}" type="pres">
      <dgm:prSet presAssocID="{97A1A76D-3CC2-4A81-9C0D-896C72A10941}" presName="node" presStyleLbl="node1" presStyleIdx="2" presStyleCnt="7">
        <dgm:presLayoutVars>
          <dgm:bulletEnabled val="1"/>
        </dgm:presLayoutVars>
      </dgm:prSet>
      <dgm:spPr/>
      <dgm:t>
        <a:bodyPr/>
        <a:lstStyle/>
        <a:p>
          <a:endParaRPr lang="en-US"/>
        </a:p>
      </dgm:t>
    </dgm:pt>
    <dgm:pt modelId="{34EE3473-8446-47D7-8856-4443D026251F}" type="pres">
      <dgm:prSet presAssocID="{62F9542D-5387-4507-A023-FDD926B49EAA}" presName="sibTrans" presStyleCnt="0"/>
      <dgm:spPr/>
    </dgm:pt>
    <dgm:pt modelId="{1F1ED88E-7186-462C-A1BA-6E2B80E9FCC5}" type="pres">
      <dgm:prSet presAssocID="{D92D96EC-DA2A-496F-A6CA-DC8166ACAAAA}" presName="node" presStyleLbl="node1" presStyleIdx="3" presStyleCnt="7">
        <dgm:presLayoutVars>
          <dgm:bulletEnabled val="1"/>
        </dgm:presLayoutVars>
      </dgm:prSet>
      <dgm:spPr/>
      <dgm:t>
        <a:bodyPr/>
        <a:lstStyle/>
        <a:p>
          <a:endParaRPr lang="en-US"/>
        </a:p>
      </dgm:t>
    </dgm:pt>
    <dgm:pt modelId="{79E74ABE-B29C-43D3-88D3-6A707CDE9BB2}" type="pres">
      <dgm:prSet presAssocID="{F2E39974-89BA-4142-AFA2-803EDBCCD301}" presName="sibTrans" presStyleCnt="0"/>
      <dgm:spPr/>
    </dgm:pt>
    <dgm:pt modelId="{360E7552-9750-40FC-88DD-0F3C1974016C}" type="pres">
      <dgm:prSet presAssocID="{98DE357F-6DA3-47E6-B3CA-3DCF9BB5D29A}" presName="node" presStyleLbl="node1" presStyleIdx="4" presStyleCnt="7">
        <dgm:presLayoutVars>
          <dgm:bulletEnabled val="1"/>
        </dgm:presLayoutVars>
      </dgm:prSet>
      <dgm:spPr/>
      <dgm:t>
        <a:bodyPr/>
        <a:lstStyle/>
        <a:p>
          <a:endParaRPr lang="en-US"/>
        </a:p>
      </dgm:t>
    </dgm:pt>
    <dgm:pt modelId="{8E96CAB8-32EB-49F3-8EC3-B3D8C2AFDDAA}" type="pres">
      <dgm:prSet presAssocID="{D901C645-623D-47D2-92A5-654D7A49EAC7}" presName="sibTrans" presStyleCnt="0"/>
      <dgm:spPr/>
    </dgm:pt>
    <dgm:pt modelId="{C602504D-039F-4961-928E-8879D41F3C98}" type="pres">
      <dgm:prSet presAssocID="{4EA03094-0922-430B-881A-5DE56B33FD01}" presName="node" presStyleLbl="node1" presStyleIdx="5" presStyleCnt="7">
        <dgm:presLayoutVars>
          <dgm:bulletEnabled val="1"/>
        </dgm:presLayoutVars>
      </dgm:prSet>
      <dgm:spPr/>
      <dgm:t>
        <a:bodyPr/>
        <a:lstStyle/>
        <a:p>
          <a:endParaRPr lang="en-US"/>
        </a:p>
      </dgm:t>
    </dgm:pt>
    <dgm:pt modelId="{CE334A69-24C9-4869-9E41-0D714C6562F3}" type="pres">
      <dgm:prSet presAssocID="{1DC5F8ED-FB40-4933-9BAF-DBA7CB3DE11E}" presName="sibTrans" presStyleCnt="0"/>
      <dgm:spPr/>
    </dgm:pt>
    <dgm:pt modelId="{ABA74966-93E8-4FBA-9F5F-58A5D585A6A4}" type="pres">
      <dgm:prSet presAssocID="{BA865310-9E99-4C55-BACD-157924292CAA}" presName="node" presStyleLbl="node1" presStyleIdx="6" presStyleCnt="7">
        <dgm:presLayoutVars>
          <dgm:bulletEnabled val="1"/>
        </dgm:presLayoutVars>
      </dgm:prSet>
      <dgm:spPr/>
      <dgm:t>
        <a:bodyPr/>
        <a:lstStyle/>
        <a:p>
          <a:endParaRPr lang="en-US"/>
        </a:p>
      </dgm:t>
    </dgm:pt>
  </dgm:ptLst>
  <dgm:cxnLst>
    <dgm:cxn modelId="{E7337950-C365-4B68-AD5D-696BDCF1AFBC}" type="presOf" srcId="{97A1A76D-3CC2-4A81-9C0D-896C72A10941}" destId="{4F150A9F-73C7-4D0E-BBA6-5BCE108CE456}" srcOrd="0" destOrd="0" presId="urn:microsoft.com/office/officeart/2005/8/layout/default"/>
    <dgm:cxn modelId="{E20CB5E6-E590-4EF1-9EF9-0CAB28E8D05B}" srcId="{8F73AF28-FBFC-4F77-8C5A-BA6B5F4A23D4}" destId="{97A1A76D-3CC2-4A81-9C0D-896C72A10941}" srcOrd="2" destOrd="0" parTransId="{DFC717C7-5097-44BD-BC35-E03101F34666}" sibTransId="{62F9542D-5387-4507-A023-FDD926B49EAA}"/>
    <dgm:cxn modelId="{A66BB209-9FCB-4B20-ADAE-EC88D84373AD}" type="presOf" srcId="{B0814A88-1869-45F3-8885-95DB7723DB36}" destId="{8D936A78-5768-4539-A286-82AFC57E1292}" srcOrd="0" destOrd="0" presId="urn:microsoft.com/office/officeart/2005/8/layout/default"/>
    <dgm:cxn modelId="{1BAA04E9-221F-456B-8803-248D5FB9B3FA}" srcId="{8F73AF28-FBFC-4F77-8C5A-BA6B5F4A23D4}" destId="{D92D96EC-DA2A-496F-A6CA-DC8166ACAAAA}" srcOrd="3" destOrd="0" parTransId="{05602EFA-9E76-48F5-8303-9C7F4298A78D}" sibTransId="{F2E39974-89BA-4142-AFA2-803EDBCCD301}"/>
    <dgm:cxn modelId="{5433A1C0-3D3B-4013-8760-A40C74C2297E}" srcId="{8F73AF28-FBFC-4F77-8C5A-BA6B5F4A23D4}" destId="{BA865310-9E99-4C55-BACD-157924292CAA}" srcOrd="6" destOrd="0" parTransId="{91038900-29B7-4D4D-A78D-B6FA8652680E}" sibTransId="{FB917C2C-8429-4F7A-9B20-321346ACC18D}"/>
    <dgm:cxn modelId="{A67EB7FD-F033-4D69-B06A-E6612072AB21}" srcId="{8F73AF28-FBFC-4F77-8C5A-BA6B5F4A23D4}" destId="{8E0DBB0E-1040-4445-90DC-8EBC438FEE29}" srcOrd="0" destOrd="0" parTransId="{5CCC6D6E-3480-4B4B-9101-975C3AC8E24D}" sibTransId="{2276C3C5-2B34-4019-861F-1E4CDED0FA1F}"/>
    <dgm:cxn modelId="{176F25AB-C3EE-4454-8E3B-6BFF53AE5BB5}" type="presOf" srcId="{D92D96EC-DA2A-496F-A6CA-DC8166ACAAAA}" destId="{1F1ED88E-7186-462C-A1BA-6E2B80E9FCC5}" srcOrd="0" destOrd="0" presId="urn:microsoft.com/office/officeart/2005/8/layout/default"/>
    <dgm:cxn modelId="{F1EB7F61-5E4F-4241-BB66-F292CC0FA97E}" type="presOf" srcId="{4EA03094-0922-430B-881A-5DE56B33FD01}" destId="{C602504D-039F-4961-928E-8879D41F3C98}" srcOrd="0" destOrd="0" presId="urn:microsoft.com/office/officeart/2005/8/layout/default"/>
    <dgm:cxn modelId="{2CC80158-D4E1-4B27-AAE0-D232D117809C}" type="presOf" srcId="{BA865310-9E99-4C55-BACD-157924292CAA}" destId="{ABA74966-93E8-4FBA-9F5F-58A5D585A6A4}" srcOrd="0" destOrd="0" presId="urn:microsoft.com/office/officeart/2005/8/layout/default"/>
    <dgm:cxn modelId="{DBB05FE1-CE32-47B1-B982-EA37317CAC06}" srcId="{8F73AF28-FBFC-4F77-8C5A-BA6B5F4A23D4}" destId="{98DE357F-6DA3-47E6-B3CA-3DCF9BB5D29A}" srcOrd="4" destOrd="0" parTransId="{1A130BED-8AB3-4C5C-A4BE-F7073CFC9B2B}" sibTransId="{D901C645-623D-47D2-92A5-654D7A49EAC7}"/>
    <dgm:cxn modelId="{DAD11190-6AC5-4565-9714-5643152E6DB8}" type="presOf" srcId="{98DE357F-6DA3-47E6-B3CA-3DCF9BB5D29A}" destId="{360E7552-9750-40FC-88DD-0F3C1974016C}" srcOrd="0" destOrd="0" presId="urn:microsoft.com/office/officeart/2005/8/layout/default"/>
    <dgm:cxn modelId="{F558A49B-F6F9-47FC-8F5A-AEE4F513822E}" type="presOf" srcId="{8E0DBB0E-1040-4445-90DC-8EBC438FEE29}" destId="{BE7BEB69-1F28-4196-8629-D1C1877FDAC1}" srcOrd="0" destOrd="0" presId="urn:microsoft.com/office/officeart/2005/8/layout/default"/>
    <dgm:cxn modelId="{44E3112F-D632-42EE-BFB2-7E3C93F89CD1}" type="presOf" srcId="{8F73AF28-FBFC-4F77-8C5A-BA6B5F4A23D4}" destId="{551F2342-461E-4743-8D9B-4FC49893D28B}" srcOrd="0" destOrd="0" presId="urn:microsoft.com/office/officeart/2005/8/layout/default"/>
    <dgm:cxn modelId="{65F811BB-D298-428E-BA2E-F37E910D4B72}" srcId="{8F73AF28-FBFC-4F77-8C5A-BA6B5F4A23D4}" destId="{B0814A88-1869-45F3-8885-95DB7723DB36}" srcOrd="1" destOrd="0" parTransId="{D2BBEAAE-2982-4902-8C31-6F3369A27136}" sibTransId="{272CFDC5-0CD9-4828-AAC3-97D19E9CFB87}"/>
    <dgm:cxn modelId="{D0A450DC-EBC9-4EB5-BAE6-F23575C84381}" srcId="{8F73AF28-FBFC-4F77-8C5A-BA6B5F4A23D4}" destId="{4EA03094-0922-430B-881A-5DE56B33FD01}" srcOrd="5" destOrd="0" parTransId="{4D9C059A-A3AE-4A2D-857F-B5B763267C1D}" sibTransId="{1DC5F8ED-FB40-4933-9BAF-DBA7CB3DE11E}"/>
    <dgm:cxn modelId="{2DFC6A9A-33CC-4160-B7A5-5990FF08AAEC}" type="presParOf" srcId="{551F2342-461E-4743-8D9B-4FC49893D28B}" destId="{BE7BEB69-1F28-4196-8629-D1C1877FDAC1}" srcOrd="0" destOrd="0" presId="urn:microsoft.com/office/officeart/2005/8/layout/default"/>
    <dgm:cxn modelId="{32B91333-31EE-4DCF-A451-C0B210C47E48}" type="presParOf" srcId="{551F2342-461E-4743-8D9B-4FC49893D28B}" destId="{E902C3C4-09D9-4835-B5C5-D06632C56AB8}" srcOrd="1" destOrd="0" presId="urn:microsoft.com/office/officeart/2005/8/layout/default"/>
    <dgm:cxn modelId="{E1FE3CA4-F19E-4E28-9C16-D275DDF00DB0}" type="presParOf" srcId="{551F2342-461E-4743-8D9B-4FC49893D28B}" destId="{8D936A78-5768-4539-A286-82AFC57E1292}" srcOrd="2" destOrd="0" presId="urn:microsoft.com/office/officeart/2005/8/layout/default"/>
    <dgm:cxn modelId="{525F182C-A4AC-4BC6-9D58-8D3C2F21ADBE}" type="presParOf" srcId="{551F2342-461E-4743-8D9B-4FC49893D28B}" destId="{8EC468C0-326A-4BC9-93CA-97CA1C818335}" srcOrd="3" destOrd="0" presId="urn:microsoft.com/office/officeart/2005/8/layout/default"/>
    <dgm:cxn modelId="{FBBFF9E7-7982-400E-BE2C-A30E3404941E}" type="presParOf" srcId="{551F2342-461E-4743-8D9B-4FC49893D28B}" destId="{4F150A9F-73C7-4D0E-BBA6-5BCE108CE456}" srcOrd="4" destOrd="0" presId="urn:microsoft.com/office/officeart/2005/8/layout/default"/>
    <dgm:cxn modelId="{04D3850B-EECA-4461-9CB6-1A1DD9CEDB47}" type="presParOf" srcId="{551F2342-461E-4743-8D9B-4FC49893D28B}" destId="{34EE3473-8446-47D7-8856-4443D026251F}" srcOrd="5" destOrd="0" presId="urn:microsoft.com/office/officeart/2005/8/layout/default"/>
    <dgm:cxn modelId="{64B85FB2-0138-49E3-8F89-761EA9BF52D1}" type="presParOf" srcId="{551F2342-461E-4743-8D9B-4FC49893D28B}" destId="{1F1ED88E-7186-462C-A1BA-6E2B80E9FCC5}" srcOrd="6" destOrd="0" presId="urn:microsoft.com/office/officeart/2005/8/layout/default"/>
    <dgm:cxn modelId="{F05AF2B1-73B8-4785-8A9E-7D42CA7796FE}" type="presParOf" srcId="{551F2342-461E-4743-8D9B-4FC49893D28B}" destId="{79E74ABE-B29C-43D3-88D3-6A707CDE9BB2}" srcOrd="7" destOrd="0" presId="urn:microsoft.com/office/officeart/2005/8/layout/default"/>
    <dgm:cxn modelId="{202542C1-65CC-480B-B8F7-78FF188E5A07}" type="presParOf" srcId="{551F2342-461E-4743-8D9B-4FC49893D28B}" destId="{360E7552-9750-40FC-88DD-0F3C1974016C}" srcOrd="8" destOrd="0" presId="urn:microsoft.com/office/officeart/2005/8/layout/default"/>
    <dgm:cxn modelId="{D418923C-8684-4AEF-A44D-2C6843F90A5C}" type="presParOf" srcId="{551F2342-461E-4743-8D9B-4FC49893D28B}" destId="{8E96CAB8-32EB-49F3-8EC3-B3D8C2AFDDAA}" srcOrd="9" destOrd="0" presId="urn:microsoft.com/office/officeart/2005/8/layout/default"/>
    <dgm:cxn modelId="{A43C6225-59B4-4067-8D34-54172178EC25}" type="presParOf" srcId="{551F2342-461E-4743-8D9B-4FC49893D28B}" destId="{C602504D-039F-4961-928E-8879D41F3C98}" srcOrd="10" destOrd="0" presId="urn:microsoft.com/office/officeart/2005/8/layout/default"/>
    <dgm:cxn modelId="{B492FACD-60AE-43ED-8204-21307378973F}" type="presParOf" srcId="{551F2342-461E-4743-8D9B-4FC49893D28B}" destId="{CE334A69-24C9-4869-9E41-0D714C6562F3}" srcOrd="11" destOrd="0" presId="urn:microsoft.com/office/officeart/2005/8/layout/default"/>
    <dgm:cxn modelId="{F4C06558-2B83-4B6D-8EE4-426E0482C1A5}" type="presParOf" srcId="{551F2342-461E-4743-8D9B-4FC49893D28B}" destId="{ABA74966-93E8-4FBA-9F5F-58A5D585A6A4}" srcOrd="12"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DD2E0E-F49E-4BE0-95A3-709CC9C0A47F}">
      <dsp:nvSpPr>
        <dsp:cNvPr id="0" name=""/>
        <dsp:cNvSpPr/>
      </dsp:nvSpPr>
      <dsp:spPr>
        <a:xfrm>
          <a:off x="0" y="389502"/>
          <a:ext cx="7101795" cy="124740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51178" tIns="458216" rIns="551178" bIns="156464" numCol="1" spcCol="1270" anchor="t" anchorCtr="0">
          <a:noAutofit/>
        </a:bodyPr>
        <a:lstStyle/>
        <a:p>
          <a:pPr marL="228600" lvl="1" indent="-228600" algn="l" defTabSz="977900">
            <a:lnSpc>
              <a:spcPct val="90000"/>
            </a:lnSpc>
            <a:spcBef>
              <a:spcPct val="0"/>
            </a:spcBef>
            <a:spcAft>
              <a:spcPct val="15000"/>
            </a:spcAft>
            <a:buChar char="••"/>
          </a:pPr>
          <a:r>
            <a:rPr lang="en-US" sz="2200" kern="1200">
              <a:latin typeface="Calibri" panose="020F0502020204030204"/>
            </a:rPr>
            <a:t>All data baseline-August 2023 will be </a:t>
          </a:r>
          <a:r>
            <a:rPr lang="en-US" sz="2200" b="1" kern="1200">
              <a:latin typeface="Calibri" panose="020F0502020204030204"/>
            </a:rPr>
            <a:t>due on September 22nd, 2023,</a:t>
          </a:r>
          <a:r>
            <a:rPr lang="en-US" sz="2200" kern="1200">
              <a:latin typeface="Calibri" panose="020F0502020204030204"/>
            </a:rPr>
            <a:t> for award consideration.</a:t>
          </a:r>
          <a:endParaRPr lang="en-US" sz="2200" b="1" kern="1200"/>
        </a:p>
      </dsp:txBody>
      <dsp:txXfrm>
        <a:off x="0" y="389502"/>
        <a:ext cx="7101795" cy="1247400"/>
      </dsp:txXfrm>
    </dsp:sp>
    <dsp:sp modelId="{717BC3C2-DA22-4D51-A406-9086CACDDF9B}">
      <dsp:nvSpPr>
        <dsp:cNvPr id="0" name=""/>
        <dsp:cNvSpPr/>
      </dsp:nvSpPr>
      <dsp:spPr>
        <a:xfrm>
          <a:off x="355089" y="64782"/>
          <a:ext cx="4971256" cy="64944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7902" tIns="0" rIns="187902" bIns="0" numCol="1" spcCol="1270" anchor="ctr" anchorCtr="0">
          <a:noAutofit/>
        </a:bodyPr>
        <a:lstStyle/>
        <a:p>
          <a:pPr lvl="0" algn="l" defTabSz="977900" rtl="0">
            <a:lnSpc>
              <a:spcPct val="90000"/>
            </a:lnSpc>
            <a:spcBef>
              <a:spcPct val="0"/>
            </a:spcBef>
            <a:spcAft>
              <a:spcPct val="35000"/>
            </a:spcAft>
          </a:pPr>
          <a:r>
            <a:rPr lang="en-US" sz="2200" kern="1200">
              <a:latin typeface="Calibri" panose="020F0502020204030204"/>
            </a:rPr>
            <a:t> </a:t>
          </a:r>
          <a:r>
            <a:rPr lang="en-US" sz="2200" b="1" kern="1200">
              <a:solidFill>
                <a:schemeClr val="accent1"/>
              </a:solidFill>
              <a:latin typeface="Calibri" panose="020F0502020204030204"/>
            </a:rPr>
            <a:t>Submit your Data!</a:t>
          </a:r>
          <a:r>
            <a:rPr lang="en-US" sz="2200" b="1" kern="1200">
              <a:latin typeface="Calibri" panose="020F0502020204030204"/>
            </a:rPr>
            <a:t> </a:t>
          </a:r>
          <a:endParaRPr lang="en-US" sz="2200" b="1" kern="1200">
            <a:solidFill>
              <a:schemeClr val="accent1"/>
            </a:solidFill>
            <a:latin typeface="Calibri" panose="020F0502020204030204"/>
          </a:endParaRPr>
        </a:p>
      </dsp:txBody>
      <dsp:txXfrm>
        <a:off x="386792" y="96485"/>
        <a:ext cx="4907850" cy="586034"/>
      </dsp:txXfrm>
    </dsp:sp>
    <dsp:sp modelId="{6C17968B-3B40-4894-B40F-C49EEEEE87D3}">
      <dsp:nvSpPr>
        <dsp:cNvPr id="0" name=""/>
        <dsp:cNvSpPr/>
      </dsp:nvSpPr>
      <dsp:spPr>
        <a:xfrm>
          <a:off x="0" y="2080422"/>
          <a:ext cx="7101795" cy="1559250"/>
        </a:xfrm>
        <a:prstGeom prst="rect">
          <a:avLst/>
        </a:prstGeom>
        <a:solidFill>
          <a:schemeClr val="lt1">
            <a:alpha val="90000"/>
            <a:hueOff val="0"/>
            <a:satOff val="0"/>
            <a:lumOff val="0"/>
            <a:alphaOff val="0"/>
          </a:schemeClr>
        </a:solidFill>
        <a:ln w="12700" cap="flat" cmpd="sng" algn="ctr">
          <a:solidFill>
            <a:schemeClr val="accent2">
              <a:hueOff val="-9918872"/>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51178" tIns="458216" rIns="551178" bIns="156464" numCol="1" spcCol="1270" anchor="t" anchorCtr="0">
          <a:noAutofit/>
        </a:bodyPr>
        <a:lstStyle/>
        <a:p>
          <a:pPr marL="228600" lvl="1" indent="-228600" algn="l" defTabSz="977900" rtl="0">
            <a:lnSpc>
              <a:spcPct val="90000"/>
            </a:lnSpc>
            <a:spcBef>
              <a:spcPct val="0"/>
            </a:spcBef>
            <a:spcAft>
              <a:spcPct val="15000"/>
            </a:spcAft>
            <a:buChar char="••"/>
          </a:pPr>
          <a:r>
            <a:rPr lang="en-US" sz="2200" kern="1200">
              <a:latin typeface="Calibri" panose="020F0502020204030204"/>
            </a:rPr>
            <a:t> </a:t>
          </a:r>
          <a:r>
            <a:rPr lang="en-US" sz="2200" b="1" kern="1200">
              <a:latin typeface="Calibri" panose="020F0502020204030204"/>
            </a:rPr>
            <a:t>Info coming soon!</a:t>
          </a:r>
          <a:r>
            <a:rPr lang="en-US" sz="2200" kern="1200">
              <a:latin typeface="Calibri" panose="020F0502020204030204"/>
            </a:rPr>
            <a:t> All hospital teams are asked to submit an abstract on QI work (can be in progress).</a:t>
          </a:r>
          <a:endParaRPr lang="en-US" sz="2200" kern="1200"/>
        </a:p>
      </dsp:txBody>
      <dsp:txXfrm>
        <a:off x="0" y="2080422"/>
        <a:ext cx="7101795" cy="1559250"/>
      </dsp:txXfrm>
    </dsp:sp>
    <dsp:sp modelId="{C8372599-BDA9-4E62-9184-ABA50695DEAE}">
      <dsp:nvSpPr>
        <dsp:cNvPr id="0" name=""/>
        <dsp:cNvSpPr/>
      </dsp:nvSpPr>
      <dsp:spPr>
        <a:xfrm>
          <a:off x="355089" y="1755702"/>
          <a:ext cx="4971256" cy="649440"/>
        </a:xfrm>
        <a:prstGeom prst="roundRect">
          <a:avLst/>
        </a:prstGeom>
        <a:solidFill>
          <a:schemeClr val="accent2">
            <a:hueOff val="-9918872"/>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7902" tIns="0" rIns="187902" bIns="0" numCol="1" spcCol="1270" anchor="ctr" anchorCtr="0">
          <a:noAutofit/>
        </a:bodyPr>
        <a:lstStyle/>
        <a:p>
          <a:pPr lvl="0" algn="l" defTabSz="977900" rtl="0">
            <a:lnSpc>
              <a:spcPct val="90000"/>
            </a:lnSpc>
            <a:spcBef>
              <a:spcPct val="0"/>
            </a:spcBef>
            <a:spcAft>
              <a:spcPct val="35000"/>
            </a:spcAft>
          </a:pPr>
          <a:r>
            <a:rPr lang="en-US" sz="2200" b="1" kern="1200">
              <a:solidFill>
                <a:schemeClr val="accent1"/>
              </a:solidFill>
              <a:latin typeface="Calibri" panose="020F0502020204030204"/>
            </a:rPr>
            <a:t>Call for Abstracts! </a:t>
          </a:r>
          <a:endParaRPr lang="en-US" sz="2200" b="1" kern="1200">
            <a:solidFill>
              <a:schemeClr val="accent1"/>
            </a:solidFill>
          </a:endParaRPr>
        </a:p>
      </dsp:txBody>
      <dsp:txXfrm>
        <a:off x="386792" y="1787405"/>
        <a:ext cx="4907850" cy="586034"/>
      </dsp:txXfrm>
    </dsp:sp>
    <dsp:sp modelId="{E42B4496-FBF8-4DC9-AF60-BFE77B144112}">
      <dsp:nvSpPr>
        <dsp:cNvPr id="0" name=""/>
        <dsp:cNvSpPr/>
      </dsp:nvSpPr>
      <dsp:spPr>
        <a:xfrm>
          <a:off x="0" y="4083192"/>
          <a:ext cx="7101795" cy="1905750"/>
        </a:xfrm>
        <a:prstGeom prst="rect">
          <a:avLst/>
        </a:prstGeom>
        <a:solidFill>
          <a:schemeClr val="lt1">
            <a:alpha val="90000"/>
            <a:hueOff val="0"/>
            <a:satOff val="0"/>
            <a:lumOff val="0"/>
            <a:alphaOff val="0"/>
          </a:schemeClr>
        </a:solidFill>
        <a:ln w="12700" cap="flat" cmpd="sng" algn="ctr">
          <a:solidFill>
            <a:schemeClr val="accent2">
              <a:hueOff val="-19837744"/>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51178" tIns="458216" rIns="551178" bIns="156464" numCol="1" spcCol="1270" anchor="t" anchorCtr="0">
          <a:noAutofit/>
        </a:bodyPr>
        <a:lstStyle/>
        <a:p>
          <a:pPr marL="228600" lvl="1" indent="-228600" algn="l" defTabSz="977900" rtl="0">
            <a:lnSpc>
              <a:spcPct val="90000"/>
            </a:lnSpc>
            <a:spcBef>
              <a:spcPct val="0"/>
            </a:spcBef>
            <a:spcAft>
              <a:spcPct val="15000"/>
            </a:spcAft>
            <a:buChar char="••"/>
          </a:pPr>
          <a:r>
            <a:rPr lang="en-US" sz="2200" kern="1200">
              <a:latin typeface="Calibri" panose="020F0502020204030204"/>
            </a:rPr>
            <a:t>We want to hear from you! </a:t>
          </a:r>
          <a:r>
            <a:rPr lang="en-US" sz="2200" b="1" kern="1200">
              <a:latin typeface="Calibri" panose="020F0502020204030204"/>
            </a:rPr>
            <a:t>Survey opening soon! </a:t>
          </a:r>
          <a:endParaRPr lang="en-US" sz="2200" b="1" kern="1200"/>
        </a:p>
        <a:p>
          <a:pPr marL="228600" lvl="1" indent="-228600" algn="l" defTabSz="977900" rtl="0">
            <a:lnSpc>
              <a:spcPct val="90000"/>
            </a:lnSpc>
            <a:spcBef>
              <a:spcPct val="0"/>
            </a:spcBef>
            <a:spcAft>
              <a:spcPct val="15000"/>
            </a:spcAft>
            <a:buChar char="••"/>
          </a:pPr>
          <a:r>
            <a:rPr lang="en-US" sz="2200" kern="1200">
              <a:latin typeface="Calibri" panose="020F0502020204030204"/>
            </a:rPr>
            <a:t>This is a great opportunity to share your teams' thoughts &amp; insights reflecting on 2023 and planning for 2024!</a:t>
          </a:r>
        </a:p>
      </dsp:txBody>
      <dsp:txXfrm>
        <a:off x="0" y="4083192"/>
        <a:ext cx="7101795" cy="1905750"/>
      </dsp:txXfrm>
    </dsp:sp>
    <dsp:sp modelId="{ECEB8BDC-F220-41C1-B502-A535EC67DE59}">
      <dsp:nvSpPr>
        <dsp:cNvPr id="0" name=""/>
        <dsp:cNvSpPr/>
      </dsp:nvSpPr>
      <dsp:spPr>
        <a:xfrm>
          <a:off x="355089" y="3758472"/>
          <a:ext cx="4971256" cy="649440"/>
        </a:xfrm>
        <a:prstGeom prst="roundRect">
          <a:avLst/>
        </a:prstGeom>
        <a:solidFill>
          <a:schemeClr val="accent2">
            <a:hueOff val="-19837744"/>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7902" tIns="0" rIns="187902" bIns="0" numCol="1" spcCol="1270" anchor="ctr" anchorCtr="0">
          <a:noAutofit/>
        </a:bodyPr>
        <a:lstStyle/>
        <a:p>
          <a:pPr lvl="0" algn="l" defTabSz="977900" rtl="0">
            <a:lnSpc>
              <a:spcPct val="90000"/>
            </a:lnSpc>
            <a:spcBef>
              <a:spcPct val="0"/>
            </a:spcBef>
            <a:spcAft>
              <a:spcPct val="35000"/>
            </a:spcAft>
          </a:pPr>
          <a:r>
            <a:rPr lang="en-US" sz="2200" b="1" u="none" kern="1200">
              <a:solidFill>
                <a:schemeClr val="accent1"/>
              </a:solidFill>
              <a:latin typeface="Calibri" panose="020F0502020204030204"/>
            </a:rPr>
            <a:t>ILPQC Annual Conference </a:t>
          </a:r>
          <a:r>
            <a:rPr lang="en-US" sz="2200" b="1" kern="1200">
              <a:solidFill>
                <a:schemeClr val="accent1"/>
              </a:solidFill>
              <a:latin typeface="Calibri" panose="020F0502020204030204"/>
            </a:rPr>
            <a:t>Survey! </a:t>
          </a:r>
        </a:p>
      </dsp:txBody>
      <dsp:txXfrm>
        <a:off x="386792" y="3790175"/>
        <a:ext cx="4907850" cy="58603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E7BEB69-1F28-4196-8629-D1C1877FDAC1}">
      <dsp:nvSpPr>
        <dsp:cNvPr id="0" name=""/>
        <dsp:cNvSpPr/>
      </dsp:nvSpPr>
      <dsp:spPr>
        <a:xfrm>
          <a:off x="3257" y="537610"/>
          <a:ext cx="2584322" cy="1550593"/>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rtl="0">
            <a:lnSpc>
              <a:spcPct val="90000"/>
            </a:lnSpc>
            <a:spcBef>
              <a:spcPct val="0"/>
            </a:spcBef>
            <a:spcAft>
              <a:spcPct val="35000"/>
            </a:spcAft>
          </a:pPr>
          <a:r>
            <a:rPr lang="en-US" sz="2100" kern="1200" dirty="0">
              <a:latin typeface="Sabon Next LT"/>
              <a:cs typeface="Sabon Next LT"/>
            </a:rPr>
            <a:t>RN education on obtaining blood culture before antibiotics</a:t>
          </a:r>
        </a:p>
      </dsp:txBody>
      <dsp:txXfrm>
        <a:off x="3257" y="537610"/>
        <a:ext cx="2584322" cy="1550593"/>
      </dsp:txXfrm>
    </dsp:sp>
    <dsp:sp modelId="{8D936A78-5768-4539-A286-82AFC57E1292}">
      <dsp:nvSpPr>
        <dsp:cNvPr id="0" name=""/>
        <dsp:cNvSpPr/>
      </dsp:nvSpPr>
      <dsp:spPr>
        <a:xfrm>
          <a:off x="2846012" y="537610"/>
          <a:ext cx="2584322" cy="1550593"/>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kern="1200" dirty="0"/>
            <a:t>Neonatal Early-Onset Sepsis Calculator added into EPIC Flowsheet</a:t>
          </a:r>
        </a:p>
      </dsp:txBody>
      <dsp:txXfrm>
        <a:off x="2846012" y="537610"/>
        <a:ext cx="2584322" cy="1550593"/>
      </dsp:txXfrm>
    </dsp:sp>
    <dsp:sp modelId="{4F150A9F-73C7-4D0E-BBA6-5BCE108CE456}">
      <dsp:nvSpPr>
        <dsp:cNvPr id="0" name=""/>
        <dsp:cNvSpPr/>
      </dsp:nvSpPr>
      <dsp:spPr>
        <a:xfrm>
          <a:off x="5688768" y="537610"/>
          <a:ext cx="2584322" cy="1550593"/>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kern="1200" dirty="0"/>
            <a:t>Automatic stop time added to physician order set</a:t>
          </a:r>
        </a:p>
      </dsp:txBody>
      <dsp:txXfrm>
        <a:off x="5688768" y="537610"/>
        <a:ext cx="2584322" cy="1550593"/>
      </dsp:txXfrm>
    </dsp:sp>
    <dsp:sp modelId="{1F1ED88E-7186-462C-A1BA-6E2B80E9FCC5}">
      <dsp:nvSpPr>
        <dsp:cNvPr id="0" name=""/>
        <dsp:cNvSpPr/>
      </dsp:nvSpPr>
      <dsp:spPr>
        <a:xfrm>
          <a:off x="8531523" y="537610"/>
          <a:ext cx="2584322" cy="1550593"/>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rtl="0">
            <a:lnSpc>
              <a:spcPct val="90000"/>
            </a:lnSpc>
            <a:spcBef>
              <a:spcPct val="0"/>
            </a:spcBef>
            <a:spcAft>
              <a:spcPct val="35000"/>
            </a:spcAft>
          </a:pPr>
          <a:r>
            <a:rPr lang="en-US" sz="2100" kern="1200" dirty="0">
              <a:latin typeface="Sabon Next LT"/>
              <a:cs typeface="Sabon Next LT"/>
            </a:rPr>
            <a:t>Review data in pediatrics bi-annual meeting &amp; unit practice committee</a:t>
          </a:r>
        </a:p>
      </dsp:txBody>
      <dsp:txXfrm>
        <a:off x="8531523" y="537610"/>
        <a:ext cx="2584322" cy="1550593"/>
      </dsp:txXfrm>
    </dsp:sp>
    <dsp:sp modelId="{360E7552-9750-40FC-88DD-0F3C1974016C}">
      <dsp:nvSpPr>
        <dsp:cNvPr id="0" name=""/>
        <dsp:cNvSpPr/>
      </dsp:nvSpPr>
      <dsp:spPr>
        <a:xfrm>
          <a:off x="1424635" y="2346636"/>
          <a:ext cx="2584322" cy="1550593"/>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rtl="0">
            <a:lnSpc>
              <a:spcPct val="90000"/>
            </a:lnSpc>
            <a:spcBef>
              <a:spcPct val="0"/>
            </a:spcBef>
            <a:spcAft>
              <a:spcPct val="35000"/>
            </a:spcAft>
          </a:pPr>
          <a:r>
            <a:rPr lang="en-US" sz="2100" kern="1200" dirty="0">
              <a:latin typeface="Sabon Next LT"/>
              <a:cs typeface="Sabon Next LT"/>
            </a:rPr>
            <a:t>Educated staff on changes and updates in staff meetings </a:t>
          </a:r>
        </a:p>
      </dsp:txBody>
      <dsp:txXfrm>
        <a:off x="1424635" y="2346636"/>
        <a:ext cx="2584322" cy="1550593"/>
      </dsp:txXfrm>
    </dsp:sp>
    <dsp:sp modelId="{C602504D-039F-4961-928E-8879D41F3C98}">
      <dsp:nvSpPr>
        <dsp:cNvPr id="0" name=""/>
        <dsp:cNvSpPr/>
      </dsp:nvSpPr>
      <dsp:spPr>
        <a:xfrm>
          <a:off x="4267390" y="2346636"/>
          <a:ext cx="2584322" cy="1550593"/>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a:lnSpc>
              <a:spcPct val="90000"/>
            </a:lnSpc>
            <a:spcBef>
              <a:spcPct val="0"/>
            </a:spcBef>
            <a:spcAft>
              <a:spcPct val="35000"/>
            </a:spcAft>
          </a:pPr>
          <a:r>
            <a:rPr lang="en-US" sz="2100" kern="1200" dirty="0">
              <a:latin typeface="Sabon Next LT"/>
              <a:cs typeface="Sabon Next LT"/>
            </a:rPr>
            <a:t>Debriefings on fallouts as needed</a:t>
          </a:r>
        </a:p>
      </dsp:txBody>
      <dsp:txXfrm>
        <a:off x="4267390" y="2346636"/>
        <a:ext cx="2584322" cy="1550593"/>
      </dsp:txXfrm>
    </dsp:sp>
    <dsp:sp modelId="{ABA74966-93E8-4FBA-9F5F-58A5D585A6A4}">
      <dsp:nvSpPr>
        <dsp:cNvPr id="0" name=""/>
        <dsp:cNvSpPr/>
      </dsp:nvSpPr>
      <dsp:spPr>
        <a:xfrm>
          <a:off x="7110145" y="2346636"/>
          <a:ext cx="2584322" cy="1550593"/>
        </a:xfrm>
        <a:prstGeom prst="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0010" tIns="80010" rIns="80010" bIns="80010" numCol="1" spcCol="1270" anchor="ctr" anchorCtr="0">
          <a:noAutofit/>
        </a:bodyPr>
        <a:lstStyle/>
        <a:p>
          <a:pPr lvl="0" algn="ctr" defTabSz="933450" rtl="0">
            <a:lnSpc>
              <a:spcPct val="90000"/>
            </a:lnSpc>
            <a:spcBef>
              <a:spcPct val="0"/>
            </a:spcBef>
            <a:spcAft>
              <a:spcPct val="35000"/>
            </a:spcAft>
          </a:pPr>
          <a:r>
            <a:rPr lang="en-US" sz="2100" kern="1200" dirty="0">
              <a:latin typeface="Sabon Next LT"/>
              <a:cs typeface="Sabon Next LT"/>
            </a:rPr>
            <a:t>Physician support from Medical Director &amp; Neonatologist</a:t>
          </a:r>
        </a:p>
      </dsp:txBody>
      <dsp:txXfrm>
        <a:off x="7110145" y="2346636"/>
        <a:ext cx="2584322" cy="1550593"/>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F58623-24BB-40E6-BA5E-1D1A87E302C3}" type="datetimeFigureOut">
              <a:rPr lang="en-US" smtClean="0"/>
              <a:t>8/2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E9A467-59E5-45DD-85A6-66A06ABAB50F}" type="slidenum">
              <a:rPr lang="en-US" smtClean="0"/>
              <a:t>‹#›</a:t>
            </a:fld>
            <a:endParaRPr lang="en-US"/>
          </a:p>
        </p:txBody>
      </p:sp>
    </p:spTree>
    <p:extLst>
      <p:ext uri="{BB962C8B-B14F-4D97-AF65-F5344CB8AC3E}">
        <p14:creationId xmlns:p14="http://schemas.microsoft.com/office/powerpoint/2010/main" val="5377136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a:p>
          <a:p>
            <a:r>
              <a:rPr lang="en-US" sz="1200" b="0" i="0" kern="1200">
                <a:solidFill>
                  <a:schemeClr val="tx1"/>
                </a:solidFill>
                <a:effectLst/>
                <a:latin typeface="+mn-lt"/>
                <a:ea typeface="+mn-ea"/>
                <a:cs typeface="+mn-cs"/>
              </a:rPr>
              <a:t>Breakout Sessions: getting complete data through March by April 21st, recap the gains we have made, achieving BASIC goals, here is why sustainability is important, why having a plan is important, recap of what sustainability is, here's is what ILPQC sustainability plans, round robin in breakout sessions: Where are you in your sustainability planning? What are your concerns with moving to sustainability? Give one thing you have achieved in the last month/plan to achieve in next 2 weeks to work towards sustainability? Successful strategies from past initiatives.</a:t>
            </a:r>
            <a:endParaRPr lang="en-US"/>
          </a:p>
        </p:txBody>
      </p:sp>
      <p:sp>
        <p:nvSpPr>
          <p:cNvPr id="4" name="Slide Number Placeholder 3"/>
          <p:cNvSpPr>
            <a:spLocks noGrp="1"/>
          </p:cNvSpPr>
          <p:nvPr>
            <p:ph type="sldNum" sz="quarter" idx="10"/>
          </p:nvPr>
        </p:nvSpPr>
        <p:spPr/>
        <p:txBody>
          <a:bodyPr/>
          <a:lstStyle/>
          <a:p>
            <a:fld id="{0DE9A467-59E5-45DD-85A6-66A06ABAB50F}" type="slidenum">
              <a:rPr lang="en-US" smtClean="0"/>
              <a:t>1</a:t>
            </a:fld>
            <a:endParaRPr lang="en-US"/>
          </a:p>
        </p:txBody>
      </p:sp>
    </p:spTree>
    <p:extLst>
      <p:ext uri="{BB962C8B-B14F-4D97-AF65-F5344CB8AC3E}">
        <p14:creationId xmlns:p14="http://schemas.microsoft.com/office/powerpoint/2010/main" val="14879108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5981" rtl="0" eaLnBrk="1" fontAlgn="auto" latinLnBrk="0" hangingPunct="1">
              <a:lnSpc>
                <a:spcPct val="100000"/>
              </a:lnSpc>
              <a:spcBef>
                <a:spcPts val="0"/>
              </a:spcBef>
              <a:spcAft>
                <a:spcPts val="0"/>
              </a:spcAft>
              <a:buClrTx/>
              <a:buSzTx/>
              <a:buFontTx/>
              <a:buNone/>
              <a:tabLst/>
              <a:defRPr/>
            </a:pPr>
            <a:fld id="{2C6108F0-C57B-4745-B908-E7B4D8E8E1B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5981"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986477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Slide Number Placeholder 3"/>
          <p:cNvSpPr>
            <a:spLocks noGrp="1"/>
          </p:cNvSpPr>
          <p:nvPr>
            <p:ph type="sldNum" sz="quarter" idx="10"/>
          </p:nvPr>
        </p:nvSpPr>
        <p:spPr/>
        <p:txBody>
          <a:bodyPr/>
          <a:lstStyle/>
          <a:p>
            <a:fld id="{0DE9A467-59E5-45DD-85A6-66A06ABAB50F}" type="slidenum">
              <a:rPr lang="en-US" smtClean="0"/>
              <a:t>2</a:t>
            </a:fld>
            <a:endParaRPr lang="en-US"/>
          </a:p>
        </p:txBody>
      </p:sp>
    </p:spTree>
    <p:extLst>
      <p:ext uri="{BB962C8B-B14F-4D97-AF65-F5344CB8AC3E}">
        <p14:creationId xmlns:p14="http://schemas.microsoft.com/office/powerpoint/2010/main" val="874647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3"/>
        <p:cNvGrpSpPr/>
        <p:nvPr/>
      </p:nvGrpSpPr>
      <p:grpSpPr>
        <a:xfrm>
          <a:off x="0" y="0"/>
          <a:ext cx="0" cy="0"/>
          <a:chOff x="0" y="0"/>
          <a:chExt cx="0" cy="0"/>
        </a:xfrm>
      </p:grpSpPr>
      <p:sp>
        <p:nvSpPr>
          <p:cNvPr id="364" name="Google Shape;364;p1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65" name="Google Shape;365;p1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66" name="Google Shape;366;p1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3</a:t>
            </a:fld>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20666521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a:p>
            <a:endParaRPr lang="en-US" dirty="0">
              <a:cs typeface="Calibri" panose="020F0502020204030204"/>
            </a:endParaRPr>
          </a:p>
          <a:p>
            <a:pPr marL="228600" indent="-228600">
              <a:buAutoNum type="arabicPeriod"/>
            </a:pPr>
            <a:r>
              <a:rPr lang="en-US" dirty="0"/>
              <a:t>Hospital has implemented a process for </a:t>
            </a:r>
            <a:r>
              <a:rPr lang="en-US" b="1" dirty="0"/>
              <a:t>standardized education for healthcare team on neonatal antibiotic stewardship best practices</a:t>
            </a:r>
            <a:endParaRPr lang="en-US" b="1" dirty="0">
              <a:cs typeface="Calibri"/>
            </a:endParaRPr>
          </a:p>
          <a:p>
            <a:pPr marL="228600" indent="-228600">
              <a:buAutoNum type="arabicPeriod"/>
            </a:pPr>
            <a:r>
              <a:rPr lang="en-US" dirty="0"/>
              <a:t>Hospital has provided patient</a:t>
            </a:r>
            <a:r>
              <a:rPr lang="en-US" b="1" dirty="0"/>
              <a:t> standardized education and anticipatory guidance with a focus on equitable care</a:t>
            </a:r>
            <a:r>
              <a:rPr lang="en-US" dirty="0"/>
              <a:t> to families on antibiotics, early onset sepsis, and treatment plan for newborn antibiotics and early onset sepsis</a:t>
            </a:r>
            <a:endParaRPr lang="en-US" dirty="0">
              <a:cs typeface="Calibri"/>
            </a:endParaRPr>
          </a:p>
          <a:p>
            <a:pPr marL="228600" indent="-228600">
              <a:buAutoNum type="arabicPeriod"/>
            </a:pPr>
            <a:r>
              <a:rPr lang="en-US" dirty="0"/>
              <a:t>Hospital has developed, in coordination with IT department, an </a:t>
            </a:r>
            <a:r>
              <a:rPr lang="en-US" b="1" dirty="0"/>
              <a:t>electronic reporting system from electronic medical record</a:t>
            </a:r>
            <a:endParaRPr lang="en-US" b="1" dirty="0">
              <a:cs typeface="Calibri"/>
            </a:endParaRPr>
          </a:p>
          <a:p>
            <a:pPr marL="228600" indent="-228600">
              <a:buAutoNum type="arabicPeriod"/>
            </a:pPr>
            <a:r>
              <a:rPr lang="en-US" dirty="0"/>
              <a:t>Hospital has Implemented </a:t>
            </a:r>
            <a:r>
              <a:rPr lang="en-US" b="1" dirty="0"/>
              <a:t>Quality Improvement strategies </a:t>
            </a:r>
            <a:r>
              <a:rPr lang="en-US" dirty="0"/>
              <a:t>to ensure feedback is provided to the neonatal/pediatric clinical team through one or more of the following components:   1. monitor and share provider-level and/or unit level antibiotics prescribing data;   2. antibiotic debriefs to identify &amp; review neonatal sepsis and antibiotic decisions for consistency with protocols and    procedures;  3.  report that tracks current inpatient newborns who are receiving antibiotics  </a:t>
            </a:r>
            <a:endParaRPr lang="en-US" dirty="0">
              <a:cs typeface="Calibri"/>
            </a:endParaRPr>
          </a:p>
          <a:p>
            <a:pPr marL="228600" indent="-228600">
              <a:buAutoNum type="arabicPeriod"/>
            </a:pPr>
            <a:r>
              <a:rPr lang="en-US" u="sng" dirty="0"/>
              <a:t>Hospital has implemented standardized policies, protocols, and support tools to </a:t>
            </a:r>
            <a:r>
              <a:rPr lang="en-US" b="1" u="sng" dirty="0"/>
              <a:t>evaluate risk for early onset sepsis for newborns for ≥ 35 0/</a:t>
            </a:r>
            <a:r>
              <a:rPr lang="en-US" u="sng" dirty="0"/>
              <a:t>7 weeks gestation based on the AAP recommended risk assessment tools.  </a:t>
            </a:r>
            <a:r>
              <a:rPr lang="en-US" dirty="0"/>
              <a:t> </a:t>
            </a:r>
            <a:endParaRPr lang="en-US" dirty="0">
              <a:cs typeface="Calibri"/>
            </a:endParaRPr>
          </a:p>
          <a:p>
            <a:pPr marL="228600" indent="-228600">
              <a:buAutoNum type="arabicPeriod"/>
            </a:pPr>
            <a:r>
              <a:rPr lang="en-US" dirty="0"/>
              <a:t>Hospital has implemented standardized</a:t>
            </a:r>
            <a:r>
              <a:rPr lang="en-US" b="1" dirty="0"/>
              <a:t> risk assessment algorithm to evaluate risk of early onset sepsis for every neonate &lt; 35 weeks gestation.</a:t>
            </a:r>
            <a:endParaRPr lang="en-US" b="1" dirty="0">
              <a:cs typeface="Calibri"/>
            </a:endParaRPr>
          </a:p>
          <a:p>
            <a:pPr marL="228600" indent="-228600">
              <a:buAutoNum type="arabicPeriod"/>
            </a:pPr>
            <a:r>
              <a:rPr lang="en-US" dirty="0"/>
              <a:t>Hospital has developed partnerships with </a:t>
            </a:r>
            <a:r>
              <a:rPr lang="en-US" b="1" dirty="0"/>
              <a:t>obstetric team to standardize communication</a:t>
            </a:r>
            <a:r>
              <a:rPr lang="en-US" dirty="0"/>
              <a:t> with the pediatric/neonatal team about maternal risk factors for early onset sepsis.</a:t>
            </a:r>
            <a:endParaRPr lang="en-US" dirty="0">
              <a:cs typeface="Calibri"/>
            </a:endParaRPr>
          </a:p>
          <a:p>
            <a:pPr marL="228600" indent="-228600">
              <a:buAutoNum type="arabicPeriod"/>
            </a:pPr>
            <a:r>
              <a:rPr lang="en-US" u="sng" dirty="0"/>
              <a:t>Hospital has implemented standardized </a:t>
            </a:r>
            <a:r>
              <a:rPr lang="en-US" b="1" u="sng" dirty="0"/>
              <a:t>serial assessment</a:t>
            </a:r>
            <a:r>
              <a:rPr lang="en-US" u="sng" dirty="0"/>
              <a:t> of neonates</a:t>
            </a:r>
            <a:endParaRPr lang="en-US" u="sng" dirty="0">
              <a:cs typeface="Calibri"/>
            </a:endParaRPr>
          </a:p>
          <a:p>
            <a:pPr marL="228600" indent="-228600">
              <a:buAutoNum type="arabicPeriod"/>
            </a:pPr>
            <a:r>
              <a:rPr lang="en-US" u="sng" dirty="0"/>
              <a:t>Hospital has implemented standardized</a:t>
            </a:r>
            <a:r>
              <a:rPr lang="en-US" b="1" u="sng" dirty="0"/>
              <a:t> identification of and response to neonates with worsening clinical status.</a:t>
            </a:r>
            <a:endParaRPr lang="en-US" b="1" u="sng" dirty="0">
              <a:cs typeface="Calibri"/>
            </a:endParaRPr>
          </a:p>
          <a:p>
            <a:pPr marL="228600" indent="-228600">
              <a:buAutoNum type="arabicPeriod"/>
            </a:pPr>
            <a:r>
              <a:rPr lang="en-US" dirty="0"/>
              <a:t>Hospital has implemented standardized policies, protocols and support tools to assist staff in properly and consistently obtaining </a:t>
            </a:r>
            <a:r>
              <a:rPr lang="en-US" b="1" dirty="0"/>
              <a:t>blood cultures</a:t>
            </a:r>
            <a:endParaRPr lang="en-US" b="1" dirty="0">
              <a:cs typeface="Calibri"/>
            </a:endParaRPr>
          </a:p>
          <a:p>
            <a:pPr marL="228600" indent="-228600">
              <a:buAutoNum type="arabicPeriod"/>
            </a:pPr>
            <a:r>
              <a:rPr lang="en-US" dirty="0"/>
              <a:t>Hospital has partnered with inpatient lab to optimize </a:t>
            </a:r>
            <a:r>
              <a:rPr lang="en-US" b="1" dirty="0"/>
              <a:t>timely processing of blood culture results </a:t>
            </a:r>
            <a:r>
              <a:rPr lang="en-US" dirty="0"/>
              <a:t>and communication with care team</a:t>
            </a:r>
            <a:endParaRPr lang="en-US" dirty="0">
              <a:cs typeface="Calibri"/>
            </a:endParaRPr>
          </a:p>
          <a:p>
            <a:pPr marL="228600" indent="-228600">
              <a:buAutoNum type="arabicPeriod"/>
            </a:pPr>
            <a:r>
              <a:rPr lang="en-US" u="sng" dirty="0"/>
              <a:t>Hospital has implemented standardized</a:t>
            </a:r>
            <a:r>
              <a:rPr lang="en-US" b="1" u="sng" dirty="0"/>
              <a:t> policies, protocols and support tools to assist staff to stop or de-escalate therapy</a:t>
            </a:r>
            <a:r>
              <a:rPr lang="en-US" u="sng" dirty="0"/>
              <a:t> promptly based on the culture and sensitivity results</a:t>
            </a:r>
            <a:endParaRPr lang="en-US" u="sng" dirty="0">
              <a:cs typeface="Calibri"/>
            </a:endParaRPr>
          </a:p>
          <a:p>
            <a:pPr marL="228600" indent="-228600">
              <a:buAutoNum type="arabicPeriod"/>
            </a:pPr>
            <a:r>
              <a:rPr lang="en-US" u="sng" dirty="0"/>
              <a:t>Hospital has implemented standardized</a:t>
            </a:r>
            <a:r>
              <a:rPr lang="en-US" b="1" u="sng" dirty="0"/>
              <a:t> dosing guidelines and order sets</a:t>
            </a:r>
            <a:r>
              <a:rPr lang="en-US" u="sng" dirty="0"/>
              <a:t> to reduce intra-hospital variation of antibiotic prescribing</a:t>
            </a:r>
            <a:endParaRPr lang="en-US" u="sng" dirty="0">
              <a:cs typeface="Calibri"/>
            </a:endParaRPr>
          </a:p>
          <a:p>
            <a:pPr marL="228600" indent="-228600">
              <a:buAutoNum type="arabicPeriod"/>
            </a:pPr>
            <a:r>
              <a:rPr lang="en-US" u="sng" dirty="0"/>
              <a:t>Hospital has implemented standardized approach for healthcare team to discuss the anticipated duration of antibiotic course at the initiation of antibiotics</a:t>
            </a:r>
            <a:r>
              <a:rPr lang="en-US" b="1" u="sng" dirty="0"/>
              <a:t> (antibiotic time out)</a:t>
            </a:r>
            <a:endParaRPr lang="en-US" b="1" u="sng" dirty="0">
              <a:cs typeface="Calibri"/>
            </a:endParaRPr>
          </a:p>
          <a:p>
            <a:pPr marL="228600" indent="-228600">
              <a:buAutoNum type="arabicPeriod"/>
            </a:pPr>
            <a:r>
              <a:rPr lang="en-US" u="sng" dirty="0"/>
              <a:t>Hospital has implemented standardized </a:t>
            </a:r>
            <a:r>
              <a:rPr lang="en-US" b="1" u="sng" dirty="0"/>
              <a:t>automatic stop order process</a:t>
            </a:r>
            <a:endParaRPr lang="en-US" b="1" u="sng" dirty="0">
              <a:cs typeface="Calibri"/>
            </a:endParaRPr>
          </a:p>
          <a:p>
            <a:pPr marL="228600" indent="-228600">
              <a:buAutoNum type="arabicPeriod"/>
            </a:pPr>
            <a:r>
              <a:rPr lang="en-US" dirty="0"/>
              <a:t>Hospital has implemented a standardized </a:t>
            </a:r>
            <a:r>
              <a:rPr lang="en-US" b="1" dirty="0"/>
              <a:t>process to review antibiotic data by race/ethnicity and share with providers and staff</a:t>
            </a:r>
            <a:r>
              <a:rPr lang="en-US" dirty="0"/>
              <a:t>. </a:t>
            </a:r>
            <a:endParaRPr lang="en-US" dirty="0">
              <a:cs typeface="Calibri"/>
            </a:endParaRPr>
          </a:p>
          <a:p>
            <a:pPr marL="228600" indent="-228600">
              <a:buAutoNum type="arabicPeriod"/>
            </a:pPr>
            <a:r>
              <a:rPr lang="en-US" dirty="0"/>
              <a:t>Hospital has implemented a </a:t>
            </a:r>
            <a:r>
              <a:rPr lang="en-US" b="1" dirty="0"/>
              <a:t>social determinants of health tool and facilitates coordinated connection to community resources and follow up.</a:t>
            </a:r>
            <a:endParaRPr lang="en-US" b="1" dirty="0">
              <a:cs typeface="Calibri"/>
            </a:endParaRPr>
          </a:p>
          <a:p>
            <a:pPr marL="228600" indent="-228600">
              <a:buAutoNum type="arabicPeriod"/>
            </a:pPr>
            <a:endParaRPr lang="en-US" dirty="0">
              <a:cs typeface="Calibri"/>
            </a:endParaRPr>
          </a:p>
        </p:txBody>
      </p:sp>
      <p:sp>
        <p:nvSpPr>
          <p:cNvPr id="4" name="Slide Number Placeholder 3"/>
          <p:cNvSpPr>
            <a:spLocks noGrp="1"/>
          </p:cNvSpPr>
          <p:nvPr>
            <p:ph type="sldNum" sz="quarter" idx="5"/>
          </p:nvPr>
        </p:nvSpPr>
        <p:spPr/>
        <p:txBody>
          <a:bodyPr/>
          <a:lstStyle/>
          <a:p>
            <a:fld id="{0DE9A467-59E5-45DD-85A6-66A06ABAB50F}" type="slidenum">
              <a:rPr lang="en-US" smtClean="0"/>
              <a:t>7</a:t>
            </a:fld>
            <a:endParaRPr lang="en-US"/>
          </a:p>
        </p:txBody>
      </p:sp>
    </p:spTree>
    <p:extLst>
      <p:ext uri="{BB962C8B-B14F-4D97-AF65-F5344CB8AC3E}">
        <p14:creationId xmlns:p14="http://schemas.microsoft.com/office/powerpoint/2010/main" val="26756314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D0B1C258-122C-4775-B207-3DE2D949F414}" type="slidenum">
              <a:rPr lang="en-US" smtClean="0"/>
              <a:t>9</a:t>
            </a:fld>
            <a:endParaRPr lang="en-US"/>
          </a:p>
        </p:txBody>
      </p:sp>
    </p:spTree>
    <p:extLst>
      <p:ext uri="{BB962C8B-B14F-4D97-AF65-F5344CB8AC3E}">
        <p14:creationId xmlns:p14="http://schemas.microsoft.com/office/powerpoint/2010/main" val="37461768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DE9A467-59E5-45DD-85A6-66A06ABAB50F}" type="slidenum">
              <a:rPr lang="en-US" smtClean="0"/>
              <a:t>16</a:t>
            </a:fld>
            <a:endParaRPr lang="en-US"/>
          </a:p>
        </p:txBody>
      </p:sp>
    </p:spTree>
    <p:extLst>
      <p:ext uri="{BB962C8B-B14F-4D97-AF65-F5344CB8AC3E}">
        <p14:creationId xmlns:p14="http://schemas.microsoft.com/office/powerpoint/2010/main" val="37048070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D0B1C258-122C-4775-B207-3DE2D949F414}" type="slidenum">
              <a:rPr lang="en-US" smtClean="0"/>
              <a:t>18</a:t>
            </a:fld>
            <a:endParaRPr lang="en-US"/>
          </a:p>
        </p:txBody>
      </p:sp>
    </p:spTree>
    <p:extLst>
      <p:ext uri="{BB962C8B-B14F-4D97-AF65-F5344CB8AC3E}">
        <p14:creationId xmlns:p14="http://schemas.microsoft.com/office/powerpoint/2010/main" val="33364843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5981" rtl="0" eaLnBrk="1" fontAlgn="auto" latinLnBrk="0" hangingPunct="1">
              <a:lnSpc>
                <a:spcPct val="100000"/>
              </a:lnSpc>
              <a:spcBef>
                <a:spcPts val="0"/>
              </a:spcBef>
              <a:spcAft>
                <a:spcPts val="0"/>
              </a:spcAft>
              <a:buClrTx/>
              <a:buSzTx/>
              <a:buFontTx/>
              <a:buNone/>
              <a:tabLst/>
              <a:defRPr/>
            </a:pPr>
            <a:fld id="{2C6108F0-C57B-4745-B908-E7B4D8E8E1B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5981"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850507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5981" rtl="0" eaLnBrk="1" fontAlgn="auto" latinLnBrk="0" hangingPunct="1">
              <a:lnSpc>
                <a:spcPct val="100000"/>
              </a:lnSpc>
              <a:spcBef>
                <a:spcPts val="0"/>
              </a:spcBef>
              <a:spcAft>
                <a:spcPts val="0"/>
              </a:spcAft>
              <a:buClrTx/>
              <a:buSzTx/>
              <a:buFontTx/>
              <a:buNone/>
              <a:tabLst/>
              <a:defRPr/>
            </a:pPr>
            <a:fld id="{2C6108F0-C57B-4745-B908-E7B4D8E8E1B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5981"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8995301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9.svg"/></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3.xml"/><Relationship Id="rId4" Type="http://schemas.openxmlformats.org/officeDocument/2006/relationships/image" Target="../media/image9.sv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3.xml"/><Relationship Id="rId4" Type="http://schemas.openxmlformats.org/officeDocument/2006/relationships/image" Target="../media/image16.svg"/></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9.svg"/></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9.svg"/></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16.svg"/></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16.svg"/></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9.svg"/></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1.pn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4.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3.emf"/><Relationship Id="rId5" Type="http://schemas.openxmlformats.org/officeDocument/2006/relationships/image" Target="../media/image32.emf"/><Relationship Id="rId4" Type="http://schemas.openxmlformats.org/officeDocument/2006/relationships/oleObject" Target="../embeddings/oleObject1.bin"/></Relationships>
</file>

<file path=ppt/slideLayouts/_rels/slideLayout196.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tags" Target="../tags/tag3.xml"/><Relationship Id="rId7" Type="http://schemas.openxmlformats.org/officeDocument/2006/relationships/oleObject" Target="../embeddings/oleObject3.bin"/><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2.emf"/><Relationship Id="rId5" Type="http://schemas.openxmlformats.org/officeDocument/2006/relationships/oleObject" Target="../embeddings/oleObject2.bin"/><Relationship Id="rId4"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slideMaster" Target="../slideMasters/slideMaster3.xml"/><Relationship Id="rId1" Type="http://schemas.openxmlformats.org/officeDocument/2006/relationships/tags" Target="../tags/tag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7.png"/><Relationship Id="rId1" Type="http://schemas.openxmlformats.org/officeDocument/2006/relationships/slideMaster" Target="../slideMasters/slideMaster3.xml"/><Relationship Id="rId4" Type="http://schemas.openxmlformats.org/officeDocument/2006/relationships/image" Target="../media/image9.svg"/></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Master" Target="../slideMasters/slideMaster3.xml"/><Relationship Id="rId1" Type="http://schemas.openxmlformats.org/officeDocument/2006/relationships/tags" Target="../tags/tag5.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7.png"/><Relationship Id="rId1" Type="http://schemas.openxmlformats.org/officeDocument/2006/relationships/slideMaster" Target="../slideMasters/slideMaster3.xml"/><Relationship Id="rId4" Type="http://schemas.openxmlformats.org/officeDocument/2006/relationships/image" Target="../media/image16.svg"/></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7.pn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34.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33.emf"/><Relationship Id="rId5" Type="http://schemas.openxmlformats.org/officeDocument/2006/relationships/image" Target="../media/image32.emf"/><Relationship Id="rId4" Type="http://schemas.openxmlformats.org/officeDocument/2006/relationships/oleObject" Target="../embeddings/oleObject4.bin"/></Relationships>
</file>

<file path=ppt/slideLayouts/_rels/slideLayout217.xml.rels><?xml version="1.0" encoding="UTF-8" standalone="yes"?>
<Relationships xmlns="http://schemas.openxmlformats.org/package/2006/relationships"><Relationship Id="rId8" Type="http://schemas.openxmlformats.org/officeDocument/2006/relationships/image" Target="../media/image39.jpeg"/><Relationship Id="rId3" Type="http://schemas.openxmlformats.org/officeDocument/2006/relationships/tags" Target="../tags/tag8.xml"/><Relationship Id="rId7" Type="http://schemas.openxmlformats.org/officeDocument/2006/relationships/oleObject" Target="../embeddings/oleObject6.bin"/><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32.emf"/><Relationship Id="rId5" Type="http://schemas.openxmlformats.org/officeDocument/2006/relationships/oleObject" Target="../embeddings/oleObject5.bin"/><Relationship Id="rId4"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5.xml"/><Relationship Id="rId4" Type="http://schemas.openxmlformats.org/officeDocument/2006/relationships/image" Target="../media/image45.png"/></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5.xml"/><Relationship Id="rId4" Type="http://schemas.openxmlformats.org/officeDocument/2006/relationships/image" Target="../media/image45.png"/></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3.png"/><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9.svg"/></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47.png"/><Relationship Id="rId1" Type="http://schemas.openxmlformats.org/officeDocument/2006/relationships/slideMaster" Target="../slideMasters/slideMaster7.xml"/><Relationship Id="rId5" Type="http://schemas.openxmlformats.org/officeDocument/2006/relationships/image" Target="../media/image4.svg"/><Relationship Id="rId4" Type="http://schemas.openxmlformats.org/officeDocument/2006/relationships/image" Target="../media/image48.png"/></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49.png"/><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50.png"/><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47.png"/><Relationship Id="rId1" Type="http://schemas.openxmlformats.org/officeDocument/2006/relationships/slideMaster" Target="../slideMasters/slideMaster7.xml"/><Relationship Id="rId5" Type="http://schemas.openxmlformats.org/officeDocument/2006/relationships/image" Target="../media/image4.svg"/><Relationship Id="rId4" Type="http://schemas.openxmlformats.org/officeDocument/2006/relationships/image" Target="../media/image48.png"/></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9.svg"/></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3.xml"/><Relationship Id="rId4" Type="http://schemas.openxmlformats.org/officeDocument/2006/relationships/image" Target="../media/image9.svg"/></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3.xml"/><Relationship Id="rId4" Type="http://schemas.openxmlformats.org/officeDocument/2006/relationships/image" Target="../media/image9.svg"/></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3.svg"/></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3.xml"/><Relationship Id="rId4" Type="http://schemas.openxmlformats.org/officeDocument/2006/relationships/image" Target="../media/image9.sv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3.xml"/><Relationship Id="rId4" Type="http://schemas.openxmlformats.org/officeDocument/2006/relationships/image" Target="../media/image16.svg"/></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rm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8" name="Straight Connector 17">
            <a:extLst>
              <a:ext uri="{FF2B5EF4-FFF2-40B4-BE49-F238E27FC236}">
                <a16:creationId xmlns:a16="http://schemas.microsoft.com/office/drawing/2014/main" id="{4A3686E6-74E2-FE49-AAC4-953D01F3F562}"/>
              </a:ext>
            </a:extLst>
          </p:cNvPr>
          <p:cNvCxnSpPr/>
          <p:nvPr userDrawn="1"/>
        </p:nvCxnSpPr>
        <p:spPr>
          <a:xfrm>
            <a:off x="1520055" y="350798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r>
              <a:rPr lang="en-US"/>
              <a:t>Click icon to add picture</a:t>
            </a:r>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870716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39284506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rm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5" name="Straight Connector 14">
            <a:extLst>
              <a:ext uri="{FF2B5EF4-FFF2-40B4-BE49-F238E27FC236}">
                <a16:creationId xmlns:a16="http://schemas.microsoft.com/office/drawing/2014/main" id="{B9A3468E-DF1F-A142-9123-E9C41E669E14}"/>
              </a:ext>
            </a:extLst>
          </p:cNvPr>
          <p:cNvCxnSpPr/>
          <p:nvPr userDrawn="1"/>
        </p:nvCxnSpPr>
        <p:spPr>
          <a:xfrm>
            <a:off x="620093" y="5141451"/>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57619848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8" name="Slide Number Placeholder 2"/>
          <p:cNvSpPr>
            <a:spLocks noGrp="1"/>
          </p:cNvSpPr>
          <p:nvPr>
            <p:ph type="sldNum" sz="quarter" idx="4"/>
          </p:nvPr>
        </p:nvSpPr>
        <p:spPr>
          <a:xfrm>
            <a:off x="11139572" y="6429714"/>
            <a:ext cx="1062120" cy="366183"/>
          </a:xfrm>
          <a:prstGeom prst="rect">
            <a:avLst/>
          </a:prstGeom>
        </p:spPr>
        <p:txBody>
          <a:bodyPr vert="horz" lIns="91440" tIns="45720" rIns="91440" bIns="45720" rtlCol="0" anchor="ctr"/>
          <a:lstStyle>
            <a:lvl1pPr algn="ctr">
              <a:defRPr sz="1467">
                <a:solidFill>
                  <a:srgbClr val="FFFFFF"/>
                </a:solidFill>
              </a:defRPr>
            </a:lvl1pPr>
          </a:lstStyle>
          <a:p>
            <a:fld id="{9674FE9E-24BF-0D4F-A9A9-573F56BA9A09}" type="slidenum">
              <a:rPr lang="en-US" smtClean="0"/>
              <a:pPr/>
              <a:t>‹#›</a:t>
            </a:fld>
            <a:endParaRPr lang="en-US"/>
          </a:p>
        </p:txBody>
      </p:sp>
      <p:sp>
        <p:nvSpPr>
          <p:cNvPr id="7" name="Title 1"/>
          <p:cNvSpPr>
            <a:spLocks noGrp="1"/>
          </p:cNvSpPr>
          <p:nvPr>
            <p:ph type="ctrTitle"/>
          </p:nvPr>
        </p:nvSpPr>
        <p:spPr>
          <a:xfrm>
            <a:off x="254393" y="1353835"/>
            <a:ext cx="11638496" cy="1470025"/>
          </a:xfrm>
          <a:prstGeom prst="rect">
            <a:avLst/>
          </a:prstGeom>
        </p:spPr>
        <p:txBody>
          <a:bodyPr anchor="b"/>
          <a:lstStyle>
            <a:lvl1pPr>
              <a:defRPr sz="7200" b="1" i="0">
                <a:solidFill>
                  <a:srgbClr val="59261D"/>
                </a:solidFill>
              </a:defRPr>
            </a:lvl1pPr>
          </a:lstStyle>
          <a:p>
            <a:r>
              <a:rPr lang="en-US"/>
              <a:t>Click to edit Master title</a:t>
            </a:r>
          </a:p>
        </p:txBody>
      </p:sp>
      <p:sp>
        <p:nvSpPr>
          <p:cNvPr id="9" name="Subtitle 2"/>
          <p:cNvSpPr>
            <a:spLocks noGrp="1"/>
          </p:cNvSpPr>
          <p:nvPr>
            <p:ph type="subTitle" idx="1"/>
          </p:nvPr>
        </p:nvSpPr>
        <p:spPr>
          <a:xfrm>
            <a:off x="847647" y="2990839"/>
            <a:ext cx="10496707" cy="1752600"/>
          </a:xfrm>
          <a:prstGeom prst="rect">
            <a:avLst/>
          </a:prstGeom>
        </p:spPr>
        <p:txBody>
          <a:bodyPr/>
          <a:lstStyle>
            <a:lvl1pPr marL="0" indent="0" algn="ctr">
              <a:buNone/>
              <a:defRPr sz="4800">
                <a:solidFill>
                  <a:srgbClr val="59261D"/>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5615765"/>
            <a:ext cx="3119941" cy="1219200"/>
          </a:xfrm>
          <a:prstGeom prst="rect">
            <a:avLst/>
          </a:prstGeom>
        </p:spPr>
      </p:pic>
    </p:spTree>
    <p:extLst>
      <p:ext uri="{BB962C8B-B14F-4D97-AF65-F5344CB8AC3E}">
        <p14:creationId xmlns:p14="http://schemas.microsoft.com/office/powerpoint/2010/main" val="278257293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cxnSp>
        <p:nvCxnSpPr>
          <p:cNvPr id="8" name="Straight Connector 7"/>
          <p:cNvCxnSpPr/>
          <p:nvPr userDrawn="1"/>
        </p:nvCxnSpPr>
        <p:spPr>
          <a:xfrm>
            <a:off x="925898" y="1116151"/>
            <a:ext cx="10340205" cy="0"/>
          </a:xfrm>
          <a:prstGeom prst="line">
            <a:avLst/>
          </a:prstGeom>
          <a:ln w="19050" cmpd="sng">
            <a:solidFill>
              <a:srgbClr val="59261D"/>
            </a:solidFill>
          </a:ln>
        </p:spPr>
        <p:style>
          <a:lnRef idx="1">
            <a:schemeClr val="dk1"/>
          </a:lnRef>
          <a:fillRef idx="0">
            <a:schemeClr val="dk1"/>
          </a:fillRef>
          <a:effectRef idx="0">
            <a:schemeClr val="dk1"/>
          </a:effectRef>
          <a:fontRef idx="minor">
            <a:schemeClr val="tx1"/>
          </a:fontRef>
        </p:style>
      </p:cxnSp>
      <p:sp>
        <p:nvSpPr>
          <p:cNvPr id="12" name="Content Placeholder 2"/>
          <p:cNvSpPr>
            <a:spLocks noGrp="1"/>
          </p:cNvSpPr>
          <p:nvPr>
            <p:ph idx="13"/>
          </p:nvPr>
        </p:nvSpPr>
        <p:spPr>
          <a:xfrm>
            <a:off x="925898" y="1280436"/>
            <a:ext cx="10340205" cy="4481259"/>
          </a:xfrm>
          <a:prstGeom prst="rect">
            <a:avLst/>
          </a:prstGeom>
        </p:spPr>
        <p:txBody>
          <a:bodyPr/>
          <a:lstStyle>
            <a:lvl1pPr>
              <a:defRPr sz="2667">
                <a:solidFill>
                  <a:srgbClr val="59261D"/>
                </a:solidFill>
              </a:defRPr>
            </a:lvl1pPr>
            <a:lvl2pPr>
              <a:defRPr sz="2667">
                <a:solidFill>
                  <a:srgbClr val="59261D"/>
                </a:solidFill>
              </a:defRPr>
            </a:lvl2pPr>
            <a:lvl3pPr marL="1523962" indent="-304792">
              <a:buFont typeface="Courier New"/>
              <a:buChar char="o"/>
              <a:defRPr sz="2133">
                <a:solidFill>
                  <a:srgbClr val="59261D"/>
                </a:solidFill>
              </a:defRPr>
            </a:lvl3pPr>
            <a:lvl4pPr>
              <a:defRPr sz="2133">
                <a:solidFill>
                  <a:srgbClr val="59261D"/>
                </a:solidFill>
              </a:defRPr>
            </a:lvl4pPr>
            <a:lvl5pPr>
              <a:defRPr sz="2133">
                <a:solidFill>
                  <a:srgbClr val="59261D"/>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
          <p:cNvSpPr>
            <a:spLocks noGrp="1"/>
          </p:cNvSpPr>
          <p:nvPr>
            <p:ph type="title"/>
          </p:nvPr>
        </p:nvSpPr>
        <p:spPr>
          <a:xfrm>
            <a:off x="925898" y="395931"/>
            <a:ext cx="10340205" cy="567955"/>
          </a:xfrm>
          <a:prstGeom prst="rect">
            <a:avLst/>
          </a:prstGeom>
        </p:spPr>
        <p:txBody>
          <a:bodyPr/>
          <a:lstStyle>
            <a:lvl1pPr algn="l">
              <a:defRPr sz="3733" b="1" i="0">
                <a:solidFill>
                  <a:srgbClr val="59261D"/>
                </a:solidFill>
              </a:defRPr>
            </a:lvl1pPr>
          </a:lstStyle>
          <a:p>
            <a:r>
              <a:rPr lang="en-US"/>
              <a:t>Click to edit Master title styl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5615765"/>
            <a:ext cx="3119941" cy="1219200"/>
          </a:xfrm>
          <a:prstGeom prst="rect">
            <a:avLst/>
          </a:prstGeom>
        </p:spPr>
      </p:pic>
      <p:sp>
        <p:nvSpPr>
          <p:cNvPr id="10" name="Slide Number Placeholder 2"/>
          <p:cNvSpPr>
            <a:spLocks noGrp="1"/>
          </p:cNvSpPr>
          <p:nvPr>
            <p:ph type="sldNum" sz="quarter" idx="4"/>
          </p:nvPr>
        </p:nvSpPr>
        <p:spPr>
          <a:xfrm>
            <a:off x="11139572" y="6429714"/>
            <a:ext cx="1062120" cy="366183"/>
          </a:xfrm>
          <a:prstGeom prst="rect">
            <a:avLst/>
          </a:prstGeom>
        </p:spPr>
        <p:txBody>
          <a:bodyPr vert="horz" lIns="91440" tIns="45720" rIns="91440" bIns="45720" rtlCol="0" anchor="ctr"/>
          <a:lstStyle>
            <a:lvl1pPr algn="ctr">
              <a:defRPr sz="1467">
                <a:solidFill>
                  <a:srgbClr val="FFFFFF"/>
                </a:solidFill>
              </a:defRPr>
            </a:lvl1pPr>
          </a:lstStyle>
          <a:p>
            <a:fld id="{9674FE9E-24BF-0D4F-A9A9-573F56BA9A09}" type="slidenum">
              <a:rPr lang="en-US" smtClean="0"/>
              <a:pPr/>
              <a:t>‹#›</a:t>
            </a:fld>
            <a:endParaRPr lang="en-US"/>
          </a:p>
        </p:txBody>
      </p:sp>
    </p:spTree>
    <p:extLst>
      <p:ext uri="{BB962C8B-B14F-4D97-AF65-F5344CB8AC3E}">
        <p14:creationId xmlns:p14="http://schemas.microsoft.com/office/powerpoint/2010/main" val="72225209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42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95583446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6916457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11485234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2063742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8894931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7144568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5432252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046377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053627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cxnSp>
        <p:nvCxnSpPr>
          <p:cNvPr id="10" name="Straight Connector 9"/>
          <p:cNvCxnSpPr/>
          <p:nvPr userDrawn="1"/>
        </p:nvCxnSpPr>
        <p:spPr>
          <a:xfrm>
            <a:off x="925898" y="1116151"/>
            <a:ext cx="10340205" cy="0"/>
          </a:xfrm>
          <a:prstGeom prst="line">
            <a:avLst/>
          </a:prstGeom>
          <a:ln w="19050" cmpd="sng">
            <a:solidFill>
              <a:srgbClr val="59261D"/>
            </a:solidFill>
          </a:ln>
        </p:spPr>
        <p:style>
          <a:lnRef idx="1">
            <a:schemeClr val="dk1"/>
          </a:lnRef>
          <a:fillRef idx="0">
            <a:schemeClr val="dk1"/>
          </a:fillRef>
          <a:effectRef idx="0">
            <a:schemeClr val="dk1"/>
          </a:effectRef>
          <a:fontRef idx="minor">
            <a:schemeClr val="tx1"/>
          </a:fontRef>
        </p:style>
      </p:cxnSp>
      <p:sp>
        <p:nvSpPr>
          <p:cNvPr id="8" name="Content Placeholder 2"/>
          <p:cNvSpPr>
            <a:spLocks noGrp="1"/>
          </p:cNvSpPr>
          <p:nvPr>
            <p:ph idx="13"/>
          </p:nvPr>
        </p:nvSpPr>
        <p:spPr>
          <a:xfrm>
            <a:off x="925898" y="1282332"/>
            <a:ext cx="5055887" cy="4296645"/>
          </a:xfrm>
          <a:prstGeom prst="rect">
            <a:avLst/>
          </a:prstGeom>
        </p:spPr>
        <p:txBody>
          <a:bodyPr/>
          <a:lstStyle>
            <a:lvl1pPr>
              <a:defRPr sz="2667">
                <a:solidFill>
                  <a:srgbClr val="59261D"/>
                </a:solidFill>
              </a:defRPr>
            </a:lvl1pPr>
            <a:lvl2pPr>
              <a:defRPr sz="2667">
                <a:solidFill>
                  <a:srgbClr val="59261D"/>
                </a:solidFill>
              </a:defRPr>
            </a:lvl2pPr>
            <a:lvl3pPr marL="1523962" indent="-304792">
              <a:buFont typeface="Courier New"/>
              <a:buChar char="o"/>
              <a:defRPr sz="2133">
                <a:solidFill>
                  <a:srgbClr val="59261D"/>
                </a:solidFill>
              </a:defRPr>
            </a:lvl3pPr>
            <a:lvl4pPr>
              <a:defRPr sz="2133">
                <a:solidFill>
                  <a:srgbClr val="59261D"/>
                </a:solidFill>
              </a:defRPr>
            </a:lvl4pPr>
            <a:lvl5pPr>
              <a:defRPr sz="2133">
                <a:solidFill>
                  <a:srgbClr val="59261D"/>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p:cNvSpPr>
            <a:spLocks noGrp="1"/>
          </p:cNvSpPr>
          <p:nvPr>
            <p:ph idx="17"/>
          </p:nvPr>
        </p:nvSpPr>
        <p:spPr>
          <a:xfrm>
            <a:off x="6213260" y="1282332"/>
            <a:ext cx="5052843" cy="4296645"/>
          </a:xfrm>
          <a:prstGeom prst="rect">
            <a:avLst/>
          </a:prstGeom>
        </p:spPr>
        <p:txBody>
          <a:bodyPr/>
          <a:lstStyle>
            <a:lvl1pPr>
              <a:defRPr sz="2667">
                <a:solidFill>
                  <a:srgbClr val="59261D"/>
                </a:solidFill>
              </a:defRPr>
            </a:lvl1pPr>
            <a:lvl2pPr>
              <a:defRPr sz="2667">
                <a:solidFill>
                  <a:srgbClr val="59261D"/>
                </a:solidFill>
              </a:defRPr>
            </a:lvl2pPr>
            <a:lvl3pPr marL="1523962" indent="-304792">
              <a:buFont typeface="Courier New"/>
              <a:buChar char="o"/>
              <a:defRPr sz="2133">
                <a:solidFill>
                  <a:srgbClr val="59261D"/>
                </a:solidFill>
              </a:defRPr>
            </a:lvl3pPr>
            <a:lvl4pPr>
              <a:defRPr sz="2133">
                <a:solidFill>
                  <a:srgbClr val="59261D"/>
                </a:solidFill>
              </a:defRPr>
            </a:lvl4pPr>
            <a:lvl5pPr>
              <a:defRPr sz="2133">
                <a:solidFill>
                  <a:srgbClr val="59261D"/>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itle 1"/>
          <p:cNvSpPr>
            <a:spLocks noGrp="1"/>
          </p:cNvSpPr>
          <p:nvPr>
            <p:ph type="title"/>
          </p:nvPr>
        </p:nvSpPr>
        <p:spPr>
          <a:xfrm>
            <a:off x="925898" y="395931"/>
            <a:ext cx="10340205" cy="567955"/>
          </a:xfrm>
          <a:prstGeom prst="rect">
            <a:avLst/>
          </a:prstGeom>
        </p:spPr>
        <p:txBody>
          <a:bodyPr/>
          <a:lstStyle>
            <a:lvl1pPr algn="l">
              <a:defRPr sz="3733" b="1" i="0">
                <a:solidFill>
                  <a:srgbClr val="59261D"/>
                </a:solidFill>
              </a:defRPr>
            </a:lvl1pPr>
          </a:lstStyle>
          <a:p>
            <a:r>
              <a:rPr lang="en-US"/>
              <a:t>Click to edit Master title style</a:t>
            </a: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5615765"/>
            <a:ext cx="3119941" cy="1219200"/>
          </a:xfrm>
          <a:prstGeom prst="rect">
            <a:avLst/>
          </a:prstGeom>
        </p:spPr>
      </p:pic>
      <p:sp>
        <p:nvSpPr>
          <p:cNvPr id="13" name="Slide Number Placeholder 2"/>
          <p:cNvSpPr>
            <a:spLocks noGrp="1"/>
          </p:cNvSpPr>
          <p:nvPr>
            <p:ph type="sldNum" sz="quarter" idx="4"/>
          </p:nvPr>
        </p:nvSpPr>
        <p:spPr>
          <a:xfrm>
            <a:off x="11139572" y="6429714"/>
            <a:ext cx="1062120" cy="366183"/>
          </a:xfrm>
          <a:prstGeom prst="rect">
            <a:avLst/>
          </a:prstGeom>
        </p:spPr>
        <p:txBody>
          <a:bodyPr vert="horz" lIns="91440" tIns="45720" rIns="91440" bIns="45720" rtlCol="0" anchor="ctr"/>
          <a:lstStyle>
            <a:lvl1pPr algn="ctr">
              <a:defRPr sz="1467">
                <a:solidFill>
                  <a:srgbClr val="FFFFFF"/>
                </a:solidFill>
              </a:defRPr>
            </a:lvl1pPr>
          </a:lstStyle>
          <a:p>
            <a:fld id="{9674FE9E-24BF-0D4F-A9A9-573F56BA9A09}" type="slidenum">
              <a:rPr lang="en-US" smtClean="0"/>
              <a:pPr/>
              <a:t>‹#›</a:t>
            </a:fld>
            <a:endParaRPr lang="en-US"/>
          </a:p>
        </p:txBody>
      </p:sp>
    </p:spTree>
    <p:extLst>
      <p:ext uri="{BB962C8B-B14F-4D97-AF65-F5344CB8AC3E}">
        <p14:creationId xmlns:p14="http://schemas.microsoft.com/office/powerpoint/2010/main" val="168979581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08176758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62331471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5"/>
            <a:ext cx="1945206" cy="879974"/>
          </a:xfrm>
          <a:prstGeom prst="rect">
            <a:avLst/>
          </a:prstGeom>
        </p:spPr>
      </p:pic>
    </p:spTree>
    <p:extLst>
      <p:ext uri="{BB962C8B-B14F-4D97-AF65-F5344CB8AC3E}">
        <p14:creationId xmlns:p14="http://schemas.microsoft.com/office/powerpoint/2010/main" val="291567343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25906" y="1276702"/>
            <a:ext cx="5070620" cy="438369"/>
          </a:xfrm>
          <a:prstGeom prst="rect">
            <a:avLst/>
          </a:prstGeom>
        </p:spPr>
        <p:txBody>
          <a:bodyPr anchor="b"/>
          <a:lstStyle>
            <a:lvl1pPr marL="0" indent="0">
              <a:buNone/>
              <a:defRPr sz="2667" b="0" i="0">
                <a:solidFill>
                  <a:srgbClr val="32A4D7"/>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a:t>
            </a:r>
          </a:p>
        </p:txBody>
      </p:sp>
      <p:sp>
        <p:nvSpPr>
          <p:cNvPr id="5" name="Text Placeholder 4"/>
          <p:cNvSpPr>
            <a:spLocks noGrp="1"/>
          </p:cNvSpPr>
          <p:nvPr>
            <p:ph type="body" sz="quarter" idx="3"/>
          </p:nvPr>
        </p:nvSpPr>
        <p:spPr>
          <a:xfrm>
            <a:off x="6193368" y="1276702"/>
            <a:ext cx="5072736" cy="438369"/>
          </a:xfrm>
          <a:prstGeom prst="rect">
            <a:avLst/>
          </a:prstGeom>
        </p:spPr>
        <p:txBody>
          <a:bodyPr anchor="b"/>
          <a:lstStyle>
            <a:lvl1pPr marL="0" indent="0">
              <a:buNone/>
              <a:defRPr sz="2667" b="0">
                <a:solidFill>
                  <a:srgbClr val="32A4D7"/>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a:t>
            </a:r>
          </a:p>
        </p:txBody>
      </p:sp>
      <p:cxnSp>
        <p:nvCxnSpPr>
          <p:cNvPr id="11" name="Straight Connector 10"/>
          <p:cNvCxnSpPr/>
          <p:nvPr userDrawn="1"/>
        </p:nvCxnSpPr>
        <p:spPr>
          <a:xfrm>
            <a:off x="925898" y="1116151"/>
            <a:ext cx="10340205" cy="0"/>
          </a:xfrm>
          <a:prstGeom prst="line">
            <a:avLst/>
          </a:prstGeom>
          <a:ln w="19050" cmpd="sng">
            <a:solidFill>
              <a:srgbClr val="59261D"/>
            </a:solidFill>
          </a:ln>
        </p:spPr>
        <p:style>
          <a:lnRef idx="1">
            <a:schemeClr val="dk1"/>
          </a:lnRef>
          <a:fillRef idx="0">
            <a:schemeClr val="dk1"/>
          </a:fillRef>
          <a:effectRef idx="0">
            <a:schemeClr val="dk1"/>
          </a:effectRef>
          <a:fontRef idx="minor">
            <a:schemeClr val="tx1"/>
          </a:fontRef>
        </p:style>
      </p:cxnSp>
      <p:sp>
        <p:nvSpPr>
          <p:cNvPr id="12" name="Content Placeholder 2"/>
          <p:cNvSpPr>
            <a:spLocks noGrp="1"/>
          </p:cNvSpPr>
          <p:nvPr>
            <p:ph idx="13"/>
          </p:nvPr>
        </p:nvSpPr>
        <p:spPr>
          <a:xfrm>
            <a:off x="925898" y="1707255"/>
            <a:ext cx="5055887" cy="3896084"/>
          </a:xfrm>
          <a:prstGeom prst="rect">
            <a:avLst/>
          </a:prstGeom>
        </p:spPr>
        <p:txBody>
          <a:bodyPr/>
          <a:lstStyle>
            <a:lvl1pPr>
              <a:defRPr sz="2667">
                <a:solidFill>
                  <a:srgbClr val="59261D"/>
                </a:solidFill>
              </a:defRPr>
            </a:lvl1pPr>
            <a:lvl2pPr>
              <a:defRPr sz="2667">
                <a:solidFill>
                  <a:srgbClr val="59261D"/>
                </a:solidFill>
              </a:defRPr>
            </a:lvl2pPr>
            <a:lvl3pPr marL="1523962" indent="-304792">
              <a:buFont typeface="Courier New"/>
              <a:buChar char="o"/>
              <a:defRPr sz="2133">
                <a:solidFill>
                  <a:srgbClr val="59261D"/>
                </a:solidFill>
              </a:defRPr>
            </a:lvl3pPr>
            <a:lvl4pPr>
              <a:defRPr sz="2133">
                <a:solidFill>
                  <a:srgbClr val="59261D"/>
                </a:solidFill>
              </a:defRPr>
            </a:lvl4pPr>
            <a:lvl5pPr>
              <a:defRPr sz="2133">
                <a:solidFill>
                  <a:srgbClr val="59261D"/>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p:cNvSpPr>
            <a:spLocks noGrp="1"/>
          </p:cNvSpPr>
          <p:nvPr>
            <p:ph idx="17"/>
          </p:nvPr>
        </p:nvSpPr>
        <p:spPr>
          <a:xfrm>
            <a:off x="6213260" y="1707255"/>
            <a:ext cx="5052843" cy="3896084"/>
          </a:xfrm>
          <a:prstGeom prst="rect">
            <a:avLst/>
          </a:prstGeom>
        </p:spPr>
        <p:txBody>
          <a:bodyPr/>
          <a:lstStyle>
            <a:lvl1pPr>
              <a:defRPr sz="2667">
                <a:solidFill>
                  <a:srgbClr val="59261D"/>
                </a:solidFill>
              </a:defRPr>
            </a:lvl1pPr>
            <a:lvl2pPr>
              <a:defRPr sz="2667">
                <a:solidFill>
                  <a:srgbClr val="59261D"/>
                </a:solidFill>
              </a:defRPr>
            </a:lvl2pPr>
            <a:lvl3pPr marL="1523962" indent="-304792">
              <a:buFont typeface="Courier New"/>
              <a:buChar char="o"/>
              <a:defRPr sz="2133">
                <a:solidFill>
                  <a:srgbClr val="59261D"/>
                </a:solidFill>
              </a:defRPr>
            </a:lvl3pPr>
            <a:lvl4pPr>
              <a:defRPr sz="2133">
                <a:solidFill>
                  <a:srgbClr val="59261D"/>
                </a:solidFill>
              </a:defRPr>
            </a:lvl4pPr>
            <a:lvl5pPr>
              <a:defRPr sz="2133">
                <a:solidFill>
                  <a:srgbClr val="59261D"/>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p:cNvSpPr>
            <a:spLocks noGrp="1"/>
          </p:cNvSpPr>
          <p:nvPr>
            <p:ph type="title"/>
          </p:nvPr>
        </p:nvSpPr>
        <p:spPr>
          <a:xfrm>
            <a:off x="925898" y="395931"/>
            <a:ext cx="10340205" cy="567955"/>
          </a:xfrm>
          <a:prstGeom prst="rect">
            <a:avLst/>
          </a:prstGeom>
        </p:spPr>
        <p:txBody>
          <a:bodyPr/>
          <a:lstStyle>
            <a:lvl1pPr algn="l">
              <a:defRPr sz="3733" b="1" i="0">
                <a:solidFill>
                  <a:srgbClr val="59261D"/>
                </a:solidFill>
              </a:defRPr>
            </a:lvl1pPr>
          </a:lstStyle>
          <a:p>
            <a:r>
              <a:rPr lang="en-US"/>
              <a:t>Click to edit Master title style</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5615765"/>
            <a:ext cx="3119941" cy="1219200"/>
          </a:xfrm>
          <a:prstGeom prst="rect">
            <a:avLst/>
          </a:prstGeom>
        </p:spPr>
      </p:pic>
      <p:sp>
        <p:nvSpPr>
          <p:cNvPr id="15" name="Slide Number Placeholder 2"/>
          <p:cNvSpPr>
            <a:spLocks noGrp="1"/>
          </p:cNvSpPr>
          <p:nvPr>
            <p:ph type="sldNum" sz="quarter" idx="4"/>
          </p:nvPr>
        </p:nvSpPr>
        <p:spPr>
          <a:xfrm>
            <a:off x="11139572" y="6429714"/>
            <a:ext cx="1062120" cy="366183"/>
          </a:xfrm>
          <a:prstGeom prst="rect">
            <a:avLst/>
          </a:prstGeom>
        </p:spPr>
        <p:txBody>
          <a:bodyPr vert="horz" lIns="91440" tIns="45720" rIns="91440" bIns="45720" rtlCol="0" anchor="ctr"/>
          <a:lstStyle>
            <a:lvl1pPr algn="ctr">
              <a:defRPr sz="1467">
                <a:solidFill>
                  <a:srgbClr val="FFFFFF"/>
                </a:solidFill>
              </a:defRPr>
            </a:lvl1pPr>
          </a:lstStyle>
          <a:p>
            <a:fld id="{9674FE9E-24BF-0D4F-A9A9-573F56BA9A09}" type="slidenum">
              <a:rPr lang="en-US" smtClean="0"/>
              <a:pPr/>
              <a:t>‹#›</a:t>
            </a:fld>
            <a:endParaRPr lang="en-US"/>
          </a:p>
        </p:txBody>
      </p:sp>
    </p:spTree>
    <p:extLst>
      <p:ext uri="{BB962C8B-B14F-4D97-AF65-F5344CB8AC3E}">
        <p14:creationId xmlns:p14="http://schemas.microsoft.com/office/powerpoint/2010/main" val="27432000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21/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222432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10812348"/>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8/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78365848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8/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cxnSp>
        <p:nvCxnSpPr>
          <p:cNvPr id="12" name="Straight Connector 11"/>
          <p:cNvCxnSpPr/>
          <p:nvPr userDrawn="1"/>
        </p:nvCxnSpPr>
        <p:spPr>
          <a:xfrm>
            <a:off x="925898" y="1116151"/>
            <a:ext cx="10340205" cy="0"/>
          </a:xfrm>
          <a:prstGeom prst="line">
            <a:avLst/>
          </a:prstGeom>
          <a:ln w="19050" cmpd="sng">
            <a:solidFill>
              <a:srgbClr val="59261D"/>
            </a:solidFill>
          </a:ln>
        </p:spPr>
        <p:style>
          <a:lnRef idx="1">
            <a:schemeClr val="dk1"/>
          </a:lnRef>
          <a:fillRef idx="0">
            <a:schemeClr val="dk1"/>
          </a:fillRef>
          <a:effectRef idx="0">
            <a:schemeClr val="dk1"/>
          </a:effectRef>
          <a:fontRef idx="minor">
            <a:schemeClr val="tx1"/>
          </a:fontRef>
        </p:style>
      </p:cxnSp>
      <p:sp>
        <p:nvSpPr>
          <p:cNvPr id="20" name="Text Placeholder 19"/>
          <p:cNvSpPr>
            <a:spLocks noGrp="1"/>
          </p:cNvSpPr>
          <p:nvPr>
            <p:ph type="body" sz="quarter" idx="15"/>
          </p:nvPr>
        </p:nvSpPr>
        <p:spPr>
          <a:xfrm>
            <a:off x="925898" y="3493548"/>
            <a:ext cx="10340205" cy="491411"/>
          </a:xfrm>
          <a:prstGeom prst="rect">
            <a:avLst/>
          </a:prstGeom>
        </p:spPr>
        <p:txBody>
          <a:bodyPr vert="horz"/>
          <a:lstStyle>
            <a:lvl1pPr marL="0" indent="0">
              <a:buNone/>
              <a:defRPr sz="3200">
                <a:solidFill>
                  <a:srgbClr val="32A4D7"/>
                </a:solidFill>
              </a:defRPr>
            </a:lvl1pPr>
          </a:lstStyle>
          <a:p>
            <a:pPr lvl="0"/>
            <a:r>
              <a:rPr lang="en-US"/>
              <a:t>Click to edit Master text styles</a:t>
            </a:r>
          </a:p>
        </p:txBody>
      </p:sp>
      <p:sp>
        <p:nvSpPr>
          <p:cNvPr id="9" name="Content Placeholder 2"/>
          <p:cNvSpPr>
            <a:spLocks noGrp="1"/>
          </p:cNvSpPr>
          <p:nvPr>
            <p:ph idx="16"/>
          </p:nvPr>
        </p:nvSpPr>
        <p:spPr>
          <a:xfrm>
            <a:off x="925898" y="1223607"/>
            <a:ext cx="10340205" cy="2174940"/>
          </a:xfrm>
          <a:prstGeom prst="rect">
            <a:avLst/>
          </a:prstGeom>
        </p:spPr>
        <p:txBody>
          <a:bodyPr/>
          <a:lstStyle>
            <a:lvl1pPr>
              <a:defRPr sz="2667">
                <a:solidFill>
                  <a:srgbClr val="59261D"/>
                </a:solidFill>
              </a:defRPr>
            </a:lvl1pPr>
            <a:lvl2pPr>
              <a:defRPr sz="2667">
                <a:solidFill>
                  <a:srgbClr val="59261D"/>
                </a:solidFill>
              </a:defRPr>
            </a:lvl2pPr>
            <a:lvl3pPr marL="1523962" indent="-304792">
              <a:buFont typeface="Courier New"/>
              <a:buChar char="o"/>
              <a:defRPr sz="2133">
                <a:solidFill>
                  <a:srgbClr val="59261D"/>
                </a:solidFill>
              </a:defRPr>
            </a:lvl3pPr>
            <a:lvl4pPr>
              <a:defRPr sz="2133">
                <a:solidFill>
                  <a:srgbClr val="59261D"/>
                </a:solidFill>
              </a:defRPr>
            </a:lvl4pPr>
            <a:lvl5pPr>
              <a:defRPr sz="2133">
                <a:solidFill>
                  <a:srgbClr val="59261D"/>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p:cNvSpPr>
            <a:spLocks noGrp="1"/>
          </p:cNvSpPr>
          <p:nvPr>
            <p:ph idx="17"/>
          </p:nvPr>
        </p:nvSpPr>
        <p:spPr>
          <a:xfrm>
            <a:off x="925898" y="4159270"/>
            <a:ext cx="10340205" cy="1602425"/>
          </a:xfrm>
          <a:prstGeom prst="rect">
            <a:avLst/>
          </a:prstGeom>
        </p:spPr>
        <p:txBody>
          <a:bodyPr/>
          <a:lstStyle>
            <a:lvl1pPr>
              <a:defRPr sz="2667">
                <a:solidFill>
                  <a:srgbClr val="59261D"/>
                </a:solidFill>
              </a:defRPr>
            </a:lvl1pPr>
            <a:lvl2pPr>
              <a:defRPr sz="2667">
                <a:solidFill>
                  <a:srgbClr val="59261D"/>
                </a:solidFill>
              </a:defRPr>
            </a:lvl2pPr>
            <a:lvl3pPr marL="1523962" indent="-304792">
              <a:buFont typeface="Courier New"/>
              <a:buChar char="o"/>
              <a:defRPr sz="2133">
                <a:solidFill>
                  <a:srgbClr val="59261D"/>
                </a:solidFill>
              </a:defRPr>
            </a:lvl3pPr>
            <a:lvl4pPr>
              <a:defRPr sz="2133">
                <a:solidFill>
                  <a:srgbClr val="59261D"/>
                </a:solidFill>
              </a:defRPr>
            </a:lvl4pPr>
            <a:lvl5pPr>
              <a:defRPr sz="2133">
                <a:solidFill>
                  <a:srgbClr val="59261D"/>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p:cNvSpPr>
            <a:spLocks noGrp="1"/>
          </p:cNvSpPr>
          <p:nvPr>
            <p:ph type="title"/>
          </p:nvPr>
        </p:nvSpPr>
        <p:spPr>
          <a:xfrm>
            <a:off x="925898" y="395931"/>
            <a:ext cx="10340205" cy="567955"/>
          </a:xfrm>
          <a:prstGeom prst="rect">
            <a:avLst/>
          </a:prstGeom>
        </p:spPr>
        <p:txBody>
          <a:bodyPr/>
          <a:lstStyle>
            <a:lvl1pPr algn="l">
              <a:defRPr sz="3733" b="1" i="0">
                <a:solidFill>
                  <a:srgbClr val="59261D"/>
                </a:solidFill>
              </a:defRPr>
            </a:lvl1pPr>
          </a:lstStyle>
          <a:p>
            <a:r>
              <a:rPr lang="en-US"/>
              <a:t>Click to edit Master title style</a:t>
            </a: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5615765"/>
            <a:ext cx="3119941" cy="1219200"/>
          </a:xfrm>
          <a:prstGeom prst="rect">
            <a:avLst/>
          </a:prstGeom>
        </p:spPr>
      </p:pic>
      <p:sp>
        <p:nvSpPr>
          <p:cNvPr id="14" name="Slide Number Placeholder 2"/>
          <p:cNvSpPr>
            <a:spLocks noGrp="1"/>
          </p:cNvSpPr>
          <p:nvPr>
            <p:ph type="sldNum" sz="quarter" idx="4"/>
          </p:nvPr>
        </p:nvSpPr>
        <p:spPr>
          <a:xfrm>
            <a:off x="11139572" y="6429714"/>
            <a:ext cx="1062120" cy="366183"/>
          </a:xfrm>
          <a:prstGeom prst="rect">
            <a:avLst/>
          </a:prstGeom>
        </p:spPr>
        <p:txBody>
          <a:bodyPr vert="horz" lIns="91440" tIns="45720" rIns="91440" bIns="45720" rtlCol="0" anchor="ctr"/>
          <a:lstStyle>
            <a:lvl1pPr algn="ctr">
              <a:defRPr sz="1467">
                <a:solidFill>
                  <a:srgbClr val="FFFFFF"/>
                </a:solidFill>
              </a:defRPr>
            </a:lvl1pPr>
          </a:lstStyle>
          <a:p>
            <a:fld id="{9674FE9E-24BF-0D4F-A9A9-573F56BA9A09}" type="slidenum">
              <a:rPr lang="en-US" smtClean="0"/>
              <a:pPr/>
              <a:t>‹#›</a:t>
            </a:fld>
            <a:endParaRPr lang="en-US"/>
          </a:p>
        </p:txBody>
      </p:sp>
    </p:spTree>
    <p:extLst>
      <p:ext uri="{BB962C8B-B14F-4D97-AF65-F5344CB8AC3E}">
        <p14:creationId xmlns:p14="http://schemas.microsoft.com/office/powerpoint/2010/main" val="72989037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8/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8/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8/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8/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25897" y="273049"/>
            <a:ext cx="3694787" cy="1162051"/>
          </a:xfrm>
          <a:prstGeom prst="rect">
            <a:avLst/>
          </a:prstGeom>
        </p:spPr>
        <p:txBody>
          <a:bodyPr anchor="b"/>
          <a:lstStyle>
            <a:lvl1pPr algn="l">
              <a:defRPr sz="2667" b="1">
                <a:solidFill>
                  <a:srgbClr val="59261D"/>
                </a:solidFill>
              </a:defRPr>
            </a:lvl1pPr>
          </a:lstStyle>
          <a:p>
            <a:r>
              <a:rPr lang="en-US"/>
              <a:t>Click to edit Master title style</a:t>
            </a:r>
          </a:p>
        </p:txBody>
      </p:sp>
      <p:sp>
        <p:nvSpPr>
          <p:cNvPr id="4" name="Text Placeholder 3"/>
          <p:cNvSpPr>
            <a:spLocks noGrp="1"/>
          </p:cNvSpPr>
          <p:nvPr>
            <p:ph type="body" sz="half" idx="2"/>
          </p:nvPr>
        </p:nvSpPr>
        <p:spPr>
          <a:xfrm>
            <a:off x="925897" y="1435104"/>
            <a:ext cx="3694787" cy="4691063"/>
          </a:xfrm>
          <a:prstGeom prst="rect">
            <a:avLst/>
          </a:prstGeom>
        </p:spPr>
        <p:txBody>
          <a:bodyPr/>
          <a:lstStyle>
            <a:lvl1pPr marL="0" indent="0">
              <a:buNone/>
              <a:defRPr sz="2667">
                <a:solidFill>
                  <a:srgbClr val="59261D"/>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8" name="Content Placeholder 2"/>
          <p:cNvSpPr>
            <a:spLocks noGrp="1"/>
          </p:cNvSpPr>
          <p:nvPr>
            <p:ph idx="17"/>
          </p:nvPr>
        </p:nvSpPr>
        <p:spPr>
          <a:xfrm>
            <a:off x="4800047" y="273050"/>
            <a:ext cx="5957420" cy="5853117"/>
          </a:xfrm>
          <a:prstGeom prst="rect">
            <a:avLst/>
          </a:prstGeom>
        </p:spPr>
        <p:txBody>
          <a:bodyPr/>
          <a:lstStyle>
            <a:lvl1pPr>
              <a:defRPr sz="2667">
                <a:solidFill>
                  <a:srgbClr val="59261D"/>
                </a:solidFill>
              </a:defRPr>
            </a:lvl1pPr>
            <a:lvl2pPr>
              <a:defRPr sz="2667">
                <a:solidFill>
                  <a:srgbClr val="59261D"/>
                </a:solidFill>
              </a:defRPr>
            </a:lvl2pPr>
            <a:lvl3pPr marL="1523962" indent="-304792">
              <a:buFont typeface="Courier New"/>
              <a:buChar char="o"/>
              <a:defRPr sz="2133">
                <a:solidFill>
                  <a:srgbClr val="59261D"/>
                </a:solidFill>
              </a:defRPr>
            </a:lvl3pPr>
            <a:lvl4pPr>
              <a:defRPr sz="2133">
                <a:solidFill>
                  <a:srgbClr val="59261D"/>
                </a:solidFill>
              </a:defRPr>
            </a:lvl4pPr>
            <a:lvl5pPr>
              <a:defRPr sz="2133">
                <a:solidFill>
                  <a:srgbClr val="59261D"/>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5615765"/>
            <a:ext cx="3119941" cy="1219200"/>
          </a:xfrm>
          <a:prstGeom prst="rect">
            <a:avLst/>
          </a:prstGeom>
        </p:spPr>
      </p:pic>
      <p:sp>
        <p:nvSpPr>
          <p:cNvPr id="11" name="Slide Number Placeholder 2"/>
          <p:cNvSpPr>
            <a:spLocks noGrp="1"/>
          </p:cNvSpPr>
          <p:nvPr>
            <p:ph type="sldNum" sz="quarter" idx="4"/>
          </p:nvPr>
        </p:nvSpPr>
        <p:spPr>
          <a:xfrm>
            <a:off x="11139572" y="6429714"/>
            <a:ext cx="1062120" cy="366183"/>
          </a:xfrm>
          <a:prstGeom prst="rect">
            <a:avLst/>
          </a:prstGeom>
        </p:spPr>
        <p:txBody>
          <a:bodyPr vert="horz" lIns="91440" tIns="45720" rIns="91440" bIns="45720" rtlCol="0" anchor="ctr"/>
          <a:lstStyle>
            <a:lvl1pPr algn="ctr">
              <a:defRPr sz="1467">
                <a:solidFill>
                  <a:srgbClr val="FFFFFF"/>
                </a:solidFill>
              </a:defRPr>
            </a:lvl1pPr>
          </a:lstStyle>
          <a:p>
            <a:fld id="{9674FE9E-24BF-0D4F-A9A9-573F56BA9A09}" type="slidenum">
              <a:rPr lang="en-US" smtClean="0"/>
              <a:pPr/>
              <a:t>‹#›</a:t>
            </a:fld>
            <a:endParaRPr lang="en-US"/>
          </a:p>
        </p:txBody>
      </p:sp>
    </p:spTree>
    <p:extLst>
      <p:ext uri="{BB962C8B-B14F-4D97-AF65-F5344CB8AC3E}">
        <p14:creationId xmlns:p14="http://schemas.microsoft.com/office/powerpoint/2010/main" val="405488729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8/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8/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8/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945304" y="4800601"/>
            <a:ext cx="6204027" cy="566739"/>
          </a:xfrm>
          <a:prstGeom prst="rect">
            <a:avLst/>
          </a:prstGeom>
        </p:spPr>
        <p:txBody>
          <a:bodyPr anchor="b"/>
          <a:lstStyle>
            <a:lvl1pPr algn="l">
              <a:defRPr sz="3200" b="1">
                <a:solidFill>
                  <a:srgbClr val="59261D"/>
                </a:solidFill>
              </a:defRPr>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a:prstGeom prst="rect">
            <a:avLst/>
          </a:prstGeo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t>Drag picture to placeholder or click icon to add</a:t>
            </a:r>
          </a:p>
        </p:txBody>
      </p:sp>
      <p:sp>
        <p:nvSpPr>
          <p:cNvPr id="4" name="Text Placeholder 3"/>
          <p:cNvSpPr>
            <a:spLocks noGrp="1"/>
          </p:cNvSpPr>
          <p:nvPr>
            <p:ph type="body" sz="half" idx="2"/>
          </p:nvPr>
        </p:nvSpPr>
        <p:spPr>
          <a:xfrm>
            <a:off x="2945304" y="5367342"/>
            <a:ext cx="6204027" cy="804863"/>
          </a:xfrm>
          <a:prstGeom prst="rect">
            <a:avLst/>
          </a:prstGeom>
        </p:spPr>
        <p:txBody>
          <a:bodyPr/>
          <a:lstStyle>
            <a:lvl1pPr marL="0" indent="0">
              <a:buNone/>
              <a:defRPr sz="2133" b="0" i="1">
                <a:solidFill>
                  <a:srgbClr val="59261D"/>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5615765"/>
            <a:ext cx="3119941" cy="1219200"/>
          </a:xfrm>
          <a:prstGeom prst="rect">
            <a:avLst/>
          </a:prstGeom>
        </p:spPr>
      </p:pic>
      <p:sp>
        <p:nvSpPr>
          <p:cNvPr id="10" name="Slide Number Placeholder 2"/>
          <p:cNvSpPr>
            <a:spLocks noGrp="1"/>
          </p:cNvSpPr>
          <p:nvPr>
            <p:ph type="sldNum" sz="quarter" idx="4"/>
          </p:nvPr>
        </p:nvSpPr>
        <p:spPr>
          <a:xfrm>
            <a:off x="11139572" y="6429714"/>
            <a:ext cx="1062120" cy="366183"/>
          </a:xfrm>
          <a:prstGeom prst="rect">
            <a:avLst/>
          </a:prstGeom>
        </p:spPr>
        <p:txBody>
          <a:bodyPr vert="horz" lIns="91440" tIns="45720" rIns="91440" bIns="45720" rtlCol="0" anchor="ctr"/>
          <a:lstStyle>
            <a:lvl1pPr algn="ctr">
              <a:defRPr sz="1467">
                <a:solidFill>
                  <a:srgbClr val="FFFFFF"/>
                </a:solidFill>
              </a:defRPr>
            </a:lvl1pPr>
          </a:lstStyle>
          <a:p>
            <a:fld id="{9674FE9E-24BF-0D4F-A9A9-573F56BA9A09}" type="slidenum">
              <a:rPr lang="en-US" smtClean="0"/>
              <a:pPr/>
              <a:t>‹#›</a:t>
            </a:fld>
            <a:endParaRPr lang="en-US"/>
          </a:p>
        </p:txBody>
      </p:sp>
    </p:spTree>
    <p:extLst>
      <p:ext uri="{BB962C8B-B14F-4D97-AF65-F5344CB8AC3E}">
        <p14:creationId xmlns:p14="http://schemas.microsoft.com/office/powerpoint/2010/main" val="188178919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5615765"/>
            <a:ext cx="3119941" cy="1219200"/>
          </a:xfrm>
          <a:prstGeom prst="rect">
            <a:avLst/>
          </a:prstGeom>
        </p:spPr>
      </p:pic>
      <p:sp>
        <p:nvSpPr>
          <p:cNvPr id="7" name="Slide Number Placeholder 2"/>
          <p:cNvSpPr>
            <a:spLocks noGrp="1"/>
          </p:cNvSpPr>
          <p:nvPr>
            <p:ph type="sldNum" sz="quarter" idx="4"/>
          </p:nvPr>
        </p:nvSpPr>
        <p:spPr>
          <a:xfrm>
            <a:off x="11139572" y="6429714"/>
            <a:ext cx="1062120" cy="366183"/>
          </a:xfrm>
          <a:prstGeom prst="rect">
            <a:avLst/>
          </a:prstGeom>
        </p:spPr>
        <p:txBody>
          <a:bodyPr vert="horz" lIns="91440" tIns="45720" rIns="91440" bIns="45720" rtlCol="0" anchor="ctr"/>
          <a:lstStyle>
            <a:lvl1pPr algn="ctr">
              <a:defRPr sz="1467">
                <a:solidFill>
                  <a:srgbClr val="FFFFFF"/>
                </a:solidFill>
              </a:defRPr>
            </a:lvl1pPr>
          </a:lstStyle>
          <a:p>
            <a:fld id="{9674FE9E-24BF-0D4F-A9A9-573F56BA9A09}" type="slidenum">
              <a:rPr lang="en-US" smtClean="0"/>
              <a:pPr/>
              <a:t>‹#›</a:t>
            </a:fld>
            <a:endParaRPr lang="en-US"/>
          </a:p>
        </p:txBody>
      </p:sp>
    </p:spTree>
    <p:extLst>
      <p:ext uri="{BB962C8B-B14F-4D97-AF65-F5344CB8AC3E}">
        <p14:creationId xmlns:p14="http://schemas.microsoft.com/office/powerpoint/2010/main" val="1547651073"/>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038" name="think-cell Slide" r:id="rId4" imgW="360" imgH="360" progId="TCLayout.ActiveDocument.1">
                  <p:embed/>
                </p:oleObj>
              </mc:Choice>
              <mc:Fallback>
                <p:oleObj name="think-cell Slide" r:id="rId4" imgW="360" imgH="360" progId="TCLayout.ActiveDocument.1">
                  <p:embed/>
                  <p:pic>
                    <p:nvPicPr>
                      <p:cNvPr id="6"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7"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93753234"/>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2074" name="think-cell Slide" r:id="rId5" imgW="360" imgH="360" progId="TCLayout.ActiveDocument.1">
                  <p:embed/>
                </p:oleObj>
              </mc:Choice>
              <mc:Fallback>
                <p:oleObj name="think-cell Slide" r:id="rId5" imgW="360" imgH="360" progId="TCLayout.ActiveDocument.1">
                  <p:embed/>
                  <p:pic>
                    <p:nvPicPr>
                      <p:cNvPr id="6"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3"/>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2075" name="think-cell Slide" r:id="rId7" imgW="360" imgH="360" progId="TCLayout.ActiveDocument.1">
                  <p:embed/>
                </p:oleObj>
              </mc:Choice>
              <mc:Fallback>
                <p:oleObj name="think-cell Slide" r:id="rId7" imgW="360" imgH="360" progId="TCLayout.ActiveDocument.1">
                  <p:embed/>
                  <p:pic>
                    <p:nvPicPr>
                      <p:cNvPr id="10"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8/21/2023</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728347992"/>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8/21/2023</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229018680"/>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33" name="Straight Connector 32">
            <a:extLst>
              <a:ext uri="{FF2B5EF4-FFF2-40B4-BE49-F238E27FC236}">
                <a16:creationId xmlns:a16="http://schemas.microsoft.com/office/drawing/2014/main" id="{A9CB564A-C69C-944C-96FC-5B26C4A43C4A}"/>
              </a:ext>
            </a:extLst>
          </p:cNvPr>
          <p:cNvCxnSpPr/>
          <p:nvPr userDrawn="1"/>
        </p:nvCxnSpPr>
        <p:spPr>
          <a:xfrm>
            <a:off x="1520055" y="281181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89295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1503B09-7ACB-4A33-BA4A-C48BEA8B9D71}" type="datetimeFigureOut">
              <a:rPr lang="en-US" smtClean="0"/>
              <a:t>8/21/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14BBAEB-AD5B-45FE-9B7E-F4F8E8B8AB56}" type="slidenum">
              <a:rPr lang="en-US" smtClean="0"/>
              <a:t>‹#›</a:t>
            </a:fld>
            <a:endParaRPr lang="en-US"/>
          </a:p>
        </p:txBody>
      </p:sp>
    </p:spTree>
    <p:extLst>
      <p:ext uri="{BB962C8B-B14F-4D97-AF65-F5344CB8AC3E}">
        <p14:creationId xmlns:p14="http://schemas.microsoft.com/office/powerpoint/2010/main" val="257654679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2"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113001559"/>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30117215"/>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21/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086" name="think-cell Slide" r:id="rId4" imgW="360" imgH="360" progId="TCLayout.ActiveDocument.1">
                  <p:embed/>
                </p:oleObj>
              </mc:Choice>
              <mc:Fallback>
                <p:oleObj name="think-cell Slide" r:id="rId4" imgW="360" imgH="360" progId="TCLayout.ActiveDocument.1">
                  <p:embed/>
                  <p:pic>
                    <p:nvPicPr>
                      <p:cNvPr id="6"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7">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93753234"/>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4122" name="think-cell Slide" r:id="rId5" imgW="360" imgH="360" progId="TCLayout.ActiveDocument.1">
                  <p:embed/>
                </p:oleObj>
              </mc:Choice>
              <mc:Fallback>
                <p:oleObj name="think-cell Slide" r:id="rId5" imgW="360" imgH="360" progId="TCLayout.ActiveDocument.1">
                  <p:embed/>
                  <p:pic>
                    <p:nvPicPr>
                      <p:cNvPr id="6"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3"/>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4123" name="think-cell Slide" r:id="rId7" imgW="360" imgH="360" progId="TCLayout.ActiveDocument.1">
                  <p:embed/>
                </p:oleObj>
              </mc:Choice>
              <mc:Fallback>
                <p:oleObj name="think-cell Slide" r:id="rId7" imgW="360" imgH="360" progId="TCLayout.ActiveDocument.1">
                  <p:embed/>
                  <p:pic>
                    <p:nvPicPr>
                      <p:cNvPr id="10"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8/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4239599575"/>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7" name="Slide Number Placeholder 5"/>
          <p:cNvSpPr>
            <a:spLocks noGrp="1"/>
          </p:cNvSpPr>
          <p:nvPr>
            <p:ph type="sldNum" sz="quarter" idx="4"/>
          </p:nvPr>
        </p:nvSpPr>
        <p:spPr>
          <a:xfrm>
            <a:off x="0" y="6423197"/>
            <a:ext cx="776659" cy="365125"/>
          </a:xfrm>
          <a:prstGeom prst="rect">
            <a:avLst/>
          </a:prstGeom>
        </p:spPr>
        <p:txBody>
          <a:bodyPr vert="horz" lIns="91440" tIns="45720" rIns="91440" bIns="45720" rtlCol="0" anchor="ctr"/>
          <a:lstStyle>
            <a:lvl1pPr algn="ctr">
              <a:defRPr sz="1100">
                <a:solidFill>
                  <a:schemeClr val="bg1"/>
                </a:solidFill>
              </a:defRPr>
            </a:lvl1pPr>
          </a:lstStyle>
          <a:p>
            <a:fld id="{B2C1BE1D-F557-C442-9DA9-8F06AF7B7A69}" type="slidenum">
              <a:rPr lang="en-US" smtClean="0"/>
              <a:pPr/>
              <a:t>‹#›</a:t>
            </a:fld>
            <a:endParaRPr lang="en-US"/>
          </a:p>
        </p:txBody>
      </p:sp>
      <p:sp>
        <p:nvSpPr>
          <p:cNvPr id="8" name="Title 1"/>
          <p:cNvSpPr>
            <a:spLocks noGrp="1"/>
          </p:cNvSpPr>
          <p:nvPr>
            <p:ph type="ctrTitle"/>
          </p:nvPr>
        </p:nvSpPr>
        <p:spPr>
          <a:xfrm>
            <a:off x="910670" y="1353835"/>
            <a:ext cx="10370661" cy="1470025"/>
          </a:xfrm>
          <a:prstGeom prst="rect">
            <a:avLst/>
          </a:prstGeom>
        </p:spPr>
        <p:txBody>
          <a:bodyPr anchor="b"/>
          <a:lstStyle>
            <a:lvl1pPr>
              <a:defRPr sz="5400" b="1" i="0">
                <a:solidFill>
                  <a:srgbClr val="59261D"/>
                </a:solidFill>
              </a:defRPr>
            </a:lvl1pPr>
          </a:lstStyle>
          <a:p>
            <a:r>
              <a:rPr lang="en-US"/>
              <a:t>Click to edit Master title style</a:t>
            </a:r>
          </a:p>
        </p:txBody>
      </p:sp>
      <p:sp>
        <p:nvSpPr>
          <p:cNvPr id="9" name="Subtitle 2"/>
          <p:cNvSpPr>
            <a:spLocks noGrp="1"/>
          </p:cNvSpPr>
          <p:nvPr>
            <p:ph type="subTitle" idx="1"/>
          </p:nvPr>
        </p:nvSpPr>
        <p:spPr>
          <a:xfrm>
            <a:off x="1093412" y="2990839"/>
            <a:ext cx="10005176" cy="1752600"/>
          </a:xfrm>
          <a:prstGeom prst="rect">
            <a:avLst/>
          </a:prstGeom>
        </p:spPr>
        <p:txBody>
          <a:bodyPr/>
          <a:lstStyle>
            <a:lvl1pPr marL="0" indent="0" algn="ctr">
              <a:buNone/>
              <a:defRPr sz="3600">
                <a:solidFill>
                  <a:srgbClr val="59261D"/>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72059" y="5953434"/>
            <a:ext cx="3119941" cy="914400"/>
          </a:xfrm>
          <a:prstGeom prst="rect">
            <a:avLst/>
          </a:prstGeom>
        </p:spPr>
      </p:pic>
    </p:spTree>
    <p:extLst>
      <p:ext uri="{BB962C8B-B14F-4D97-AF65-F5344CB8AC3E}">
        <p14:creationId xmlns:p14="http://schemas.microsoft.com/office/powerpoint/2010/main" val="795765754"/>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925898" y="1280436"/>
            <a:ext cx="10340205" cy="4384031"/>
          </a:xfrm>
          <a:prstGeom prst="rect">
            <a:avLst/>
          </a:prstGeom>
        </p:spPr>
        <p:txBody>
          <a:bodyPr/>
          <a:lstStyle>
            <a:lvl1pPr>
              <a:defRPr sz="2000">
                <a:solidFill>
                  <a:srgbClr val="59261D"/>
                </a:solidFill>
              </a:defRPr>
            </a:lvl1pPr>
            <a:lvl2pPr>
              <a:defRPr sz="2000">
                <a:solidFill>
                  <a:srgbClr val="59261D"/>
                </a:solidFill>
              </a:defRPr>
            </a:lvl2pPr>
            <a:lvl3pPr marL="1143000" indent="-228600">
              <a:buFont typeface="Courier New"/>
              <a:buChar char="o"/>
              <a:defRPr sz="1600">
                <a:solidFill>
                  <a:srgbClr val="59261D"/>
                </a:solidFill>
              </a:defRPr>
            </a:lvl3pPr>
            <a:lvl4pPr>
              <a:defRPr sz="1600">
                <a:solidFill>
                  <a:srgbClr val="59261D"/>
                </a:solidFill>
              </a:defRPr>
            </a:lvl4pPr>
            <a:lvl5pPr>
              <a:defRPr sz="1600">
                <a:solidFill>
                  <a:srgbClr val="59261D"/>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p:cNvSpPr>
            <a:spLocks noGrp="1"/>
          </p:cNvSpPr>
          <p:nvPr>
            <p:ph type="title"/>
          </p:nvPr>
        </p:nvSpPr>
        <p:spPr>
          <a:xfrm>
            <a:off x="925898" y="493382"/>
            <a:ext cx="10340205" cy="567955"/>
          </a:xfrm>
          <a:prstGeom prst="rect">
            <a:avLst/>
          </a:prstGeom>
        </p:spPr>
        <p:txBody>
          <a:bodyPr/>
          <a:lstStyle>
            <a:lvl1pPr algn="l">
              <a:defRPr sz="2800" b="1" i="0">
                <a:solidFill>
                  <a:srgbClr val="59261D"/>
                </a:solidFill>
              </a:defRPr>
            </a:lvl1pPr>
          </a:lstStyle>
          <a:p>
            <a:r>
              <a:rPr lang="en-US"/>
              <a:t>Click to edit Master title style</a:t>
            </a:r>
          </a:p>
        </p:txBody>
      </p:sp>
      <p:cxnSp>
        <p:nvCxnSpPr>
          <p:cNvPr id="11" name="Straight Connector 10"/>
          <p:cNvCxnSpPr/>
          <p:nvPr userDrawn="1"/>
        </p:nvCxnSpPr>
        <p:spPr>
          <a:xfrm>
            <a:off x="925898" y="1116151"/>
            <a:ext cx="10340205" cy="0"/>
          </a:xfrm>
          <a:prstGeom prst="line">
            <a:avLst/>
          </a:prstGeom>
          <a:ln w="19050" cmpd="sng">
            <a:solidFill>
              <a:srgbClr val="59261D"/>
            </a:solidFill>
          </a:ln>
        </p:spPr>
        <p:style>
          <a:lnRef idx="1">
            <a:schemeClr val="dk1"/>
          </a:lnRef>
          <a:fillRef idx="0">
            <a:schemeClr val="dk1"/>
          </a:fillRef>
          <a:effectRef idx="0">
            <a:schemeClr val="dk1"/>
          </a:effectRef>
          <a:fontRef idx="minor">
            <a:schemeClr val="tx1"/>
          </a:fontRef>
        </p:style>
      </p:cxn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72059" y="5953434"/>
            <a:ext cx="3119941" cy="914400"/>
          </a:xfrm>
          <a:prstGeom prst="rect">
            <a:avLst/>
          </a:prstGeom>
        </p:spPr>
      </p:pic>
      <p:sp>
        <p:nvSpPr>
          <p:cNvPr id="12" name="Slide Number Placeholder 5"/>
          <p:cNvSpPr>
            <a:spLocks noGrp="1"/>
          </p:cNvSpPr>
          <p:nvPr>
            <p:ph type="sldNum" sz="quarter" idx="4"/>
          </p:nvPr>
        </p:nvSpPr>
        <p:spPr>
          <a:xfrm>
            <a:off x="0" y="6423197"/>
            <a:ext cx="776659" cy="365125"/>
          </a:xfrm>
          <a:prstGeom prst="rect">
            <a:avLst/>
          </a:prstGeom>
        </p:spPr>
        <p:txBody>
          <a:bodyPr vert="horz" lIns="91440" tIns="45720" rIns="91440" bIns="45720" rtlCol="0" anchor="ctr"/>
          <a:lstStyle>
            <a:lvl1pPr algn="ctr">
              <a:defRPr sz="1100">
                <a:solidFill>
                  <a:schemeClr val="bg1"/>
                </a:solidFill>
              </a:defRPr>
            </a:lvl1pPr>
          </a:lstStyle>
          <a:p>
            <a:fld id="{B2C1BE1D-F557-C442-9DA9-8F06AF7B7A69}" type="slidenum">
              <a:rPr lang="en-US" smtClean="0"/>
              <a:pPr/>
              <a:t>‹#›</a:t>
            </a:fld>
            <a:endParaRPr lang="en-US"/>
          </a:p>
        </p:txBody>
      </p:sp>
    </p:spTree>
    <p:extLst>
      <p:ext uri="{BB962C8B-B14F-4D97-AF65-F5344CB8AC3E}">
        <p14:creationId xmlns:p14="http://schemas.microsoft.com/office/powerpoint/2010/main" val="2418110227"/>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Title 1"/>
          <p:cNvSpPr>
            <a:spLocks noGrp="1"/>
          </p:cNvSpPr>
          <p:nvPr>
            <p:ph type="title"/>
          </p:nvPr>
        </p:nvSpPr>
        <p:spPr>
          <a:xfrm>
            <a:off x="925898" y="493382"/>
            <a:ext cx="10340205" cy="567955"/>
          </a:xfrm>
          <a:prstGeom prst="rect">
            <a:avLst/>
          </a:prstGeom>
        </p:spPr>
        <p:txBody>
          <a:bodyPr/>
          <a:lstStyle>
            <a:lvl1pPr algn="l">
              <a:defRPr sz="2800" b="1" i="0">
                <a:solidFill>
                  <a:srgbClr val="59261D"/>
                </a:solidFill>
              </a:defRPr>
            </a:lvl1pPr>
          </a:lstStyle>
          <a:p>
            <a:r>
              <a:rPr lang="en-US"/>
              <a:t>Click to edit Master title style</a:t>
            </a:r>
          </a:p>
        </p:txBody>
      </p:sp>
      <p:cxnSp>
        <p:nvCxnSpPr>
          <p:cNvPr id="10" name="Straight Connector 9"/>
          <p:cNvCxnSpPr/>
          <p:nvPr userDrawn="1"/>
        </p:nvCxnSpPr>
        <p:spPr>
          <a:xfrm>
            <a:off x="925898" y="1116151"/>
            <a:ext cx="10340205" cy="0"/>
          </a:xfrm>
          <a:prstGeom prst="line">
            <a:avLst/>
          </a:prstGeom>
          <a:ln w="19050" cmpd="sng">
            <a:solidFill>
              <a:srgbClr val="59261D"/>
            </a:solidFill>
          </a:ln>
        </p:spPr>
        <p:style>
          <a:lnRef idx="1">
            <a:schemeClr val="dk1"/>
          </a:lnRef>
          <a:fillRef idx="0">
            <a:schemeClr val="dk1"/>
          </a:fillRef>
          <a:effectRef idx="0">
            <a:schemeClr val="dk1"/>
          </a:effectRef>
          <a:fontRef idx="minor">
            <a:schemeClr val="tx1"/>
          </a:fontRef>
        </p:style>
      </p:cxnSp>
      <p:sp>
        <p:nvSpPr>
          <p:cNvPr id="8" name="Content Placeholder 2"/>
          <p:cNvSpPr>
            <a:spLocks noGrp="1"/>
          </p:cNvSpPr>
          <p:nvPr>
            <p:ph idx="13"/>
          </p:nvPr>
        </p:nvSpPr>
        <p:spPr>
          <a:xfrm>
            <a:off x="925898" y="1280436"/>
            <a:ext cx="5068503" cy="4525968"/>
          </a:xfrm>
          <a:prstGeom prst="rect">
            <a:avLst/>
          </a:prstGeom>
        </p:spPr>
        <p:txBody>
          <a:bodyPr/>
          <a:lstStyle>
            <a:lvl1pPr>
              <a:defRPr sz="2000">
                <a:solidFill>
                  <a:srgbClr val="59261D"/>
                </a:solidFill>
              </a:defRPr>
            </a:lvl1pPr>
            <a:lvl2pPr>
              <a:defRPr sz="2000">
                <a:solidFill>
                  <a:srgbClr val="59261D"/>
                </a:solidFill>
              </a:defRPr>
            </a:lvl2pPr>
            <a:lvl3pPr marL="1143000" indent="-228600">
              <a:buFont typeface="Courier New"/>
              <a:buChar char="o"/>
              <a:defRPr sz="1600">
                <a:solidFill>
                  <a:srgbClr val="59261D"/>
                </a:solidFill>
              </a:defRPr>
            </a:lvl3pPr>
            <a:lvl4pPr>
              <a:defRPr sz="1600">
                <a:solidFill>
                  <a:srgbClr val="59261D"/>
                </a:solidFill>
              </a:defRPr>
            </a:lvl4pPr>
            <a:lvl5pPr>
              <a:defRPr sz="1600">
                <a:solidFill>
                  <a:srgbClr val="59261D"/>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p:cNvSpPr>
            <a:spLocks noGrp="1"/>
          </p:cNvSpPr>
          <p:nvPr>
            <p:ph idx="14"/>
          </p:nvPr>
        </p:nvSpPr>
        <p:spPr>
          <a:xfrm>
            <a:off x="6197601" y="1280436"/>
            <a:ext cx="5068503" cy="4525968"/>
          </a:xfrm>
          <a:prstGeom prst="rect">
            <a:avLst/>
          </a:prstGeom>
        </p:spPr>
        <p:txBody>
          <a:bodyPr/>
          <a:lstStyle>
            <a:lvl1pPr>
              <a:defRPr sz="2000">
                <a:solidFill>
                  <a:srgbClr val="59261D"/>
                </a:solidFill>
              </a:defRPr>
            </a:lvl1pPr>
            <a:lvl2pPr>
              <a:defRPr sz="2000">
                <a:solidFill>
                  <a:srgbClr val="59261D"/>
                </a:solidFill>
              </a:defRPr>
            </a:lvl2pPr>
            <a:lvl3pPr marL="1143000" indent="-228600">
              <a:buFont typeface="Courier New"/>
              <a:buChar char="o"/>
              <a:defRPr sz="1600">
                <a:solidFill>
                  <a:srgbClr val="59261D"/>
                </a:solidFill>
              </a:defRPr>
            </a:lvl3pPr>
            <a:lvl4pPr>
              <a:defRPr sz="1600">
                <a:solidFill>
                  <a:srgbClr val="59261D"/>
                </a:solidFill>
              </a:defRPr>
            </a:lvl4pPr>
            <a:lvl5pPr>
              <a:defRPr sz="1600">
                <a:solidFill>
                  <a:srgbClr val="59261D"/>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Picture 1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72059" y="5953434"/>
            <a:ext cx="3119941" cy="914400"/>
          </a:xfrm>
          <a:prstGeom prst="rect">
            <a:avLst/>
          </a:prstGeom>
        </p:spPr>
      </p:pic>
      <p:sp>
        <p:nvSpPr>
          <p:cNvPr id="15" name="Slide Number Placeholder 5"/>
          <p:cNvSpPr>
            <a:spLocks noGrp="1"/>
          </p:cNvSpPr>
          <p:nvPr>
            <p:ph type="sldNum" sz="quarter" idx="4"/>
          </p:nvPr>
        </p:nvSpPr>
        <p:spPr>
          <a:xfrm>
            <a:off x="0" y="6423197"/>
            <a:ext cx="776659" cy="365125"/>
          </a:xfrm>
          <a:prstGeom prst="rect">
            <a:avLst/>
          </a:prstGeom>
        </p:spPr>
        <p:txBody>
          <a:bodyPr vert="horz" lIns="91440" tIns="45720" rIns="91440" bIns="45720" rtlCol="0" anchor="ctr"/>
          <a:lstStyle>
            <a:lvl1pPr algn="ctr">
              <a:defRPr sz="1100">
                <a:solidFill>
                  <a:schemeClr val="bg1"/>
                </a:solidFill>
              </a:defRPr>
            </a:lvl1pPr>
          </a:lstStyle>
          <a:p>
            <a:fld id="{B2C1BE1D-F557-C442-9DA9-8F06AF7B7A69}" type="slidenum">
              <a:rPr lang="en-US" smtClean="0"/>
              <a:pPr/>
              <a:t>‹#›</a:t>
            </a:fld>
            <a:endParaRPr lang="en-US"/>
          </a:p>
        </p:txBody>
      </p:sp>
    </p:spTree>
    <p:extLst>
      <p:ext uri="{BB962C8B-B14F-4D97-AF65-F5344CB8AC3E}">
        <p14:creationId xmlns:p14="http://schemas.microsoft.com/office/powerpoint/2010/main" val="1941720701"/>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25905" y="1276702"/>
            <a:ext cx="5070620" cy="438369"/>
          </a:xfrm>
          <a:prstGeom prst="rect">
            <a:avLst/>
          </a:prstGeom>
        </p:spPr>
        <p:txBody>
          <a:bodyPr anchor="b"/>
          <a:lstStyle>
            <a:lvl1pPr marL="0" indent="0">
              <a:buNone/>
              <a:defRPr sz="2000" b="0" i="0">
                <a:solidFill>
                  <a:srgbClr val="32A4D7"/>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4"/>
          <p:cNvSpPr>
            <a:spLocks noGrp="1"/>
          </p:cNvSpPr>
          <p:nvPr>
            <p:ph type="body" sz="quarter" idx="3"/>
          </p:nvPr>
        </p:nvSpPr>
        <p:spPr>
          <a:xfrm>
            <a:off x="6193368" y="1276702"/>
            <a:ext cx="5072736" cy="438369"/>
          </a:xfrm>
          <a:prstGeom prst="rect">
            <a:avLst/>
          </a:prstGeom>
        </p:spPr>
        <p:txBody>
          <a:bodyPr anchor="b"/>
          <a:lstStyle>
            <a:lvl1pPr marL="0" indent="0">
              <a:buNone/>
              <a:defRPr sz="2000" b="0">
                <a:solidFill>
                  <a:srgbClr val="32A4D7"/>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itle 1"/>
          <p:cNvSpPr>
            <a:spLocks noGrp="1"/>
          </p:cNvSpPr>
          <p:nvPr>
            <p:ph type="title"/>
          </p:nvPr>
        </p:nvSpPr>
        <p:spPr>
          <a:xfrm>
            <a:off x="925898" y="493382"/>
            <a:ext cx="10340205" cy="567955"/>
          </a:xfrm>
          <a:prstGeom prst="rect">
            <a:avLst/>
          </a:prstGeom>
        </p:spPr>
        <p:txBody>
          <a:bodyPr/>
          <a:lstStyle>
            <a:lvl1pPr algn="l">
              <a:defRPr sz="2800" b="1" i="0">
                <a:solidFill>
                  <a:srgbClr val="59261D"/>
                </a:solidFill>
              </a:defRPr>
            </a:lvl1pPr>
          </a:lstStyle>
          <a:p>
            <a:r>
              <a:rPr lang="en-US"/>
              <a:t>Click to edit Master title style</a:t>
            </a:r>
          </a:p>
        </p:txBody>
      </p:sp>
      <p:cxnSp>
        <p:nvCxnSpPr>
          <p:cNvPr id="11" name="Straight Connector 10"/>
          <p:cNvCxnSpPr/>
          <p:nvPr userDrawn="1"/>
        </p:nvCxnSpPr>
        <p:spPr>
          <a:xfrm>
            <a:off x="925898" y="1116151"/>
            <a:ext cx="10340205" cy="0"/>
          </a:xfrm>
          <a:prstGeom prst="line">
            <a:avLst/>
          </a:prstGeom>
          <a:ln w="19050" cmpd="sng">
            <a:solidFill>
              <a:srgbClr val="59261D"/>
            </a:solidFill>
          </a:ln>
        </p:spPr>
        <p:style>
          <a:lnRef idx="1">
            <a:schemeClr val="dk1"/>
          </a:lnRef>
          <a:fillRef idx="0">
            <a:schemeClr val="dk1"/>
          </a:fillRef>
          <a:effectRef idx="0">
            <a:schemeClr val="dk1"/>
          </a:effectRef>
          <a:fontRef idx="minor">
            <a:schemeClr val="tx1"/>
          </a:fontRef>
        </p:style>
      </p:cxnSp>
      <p:sp>
        <p:nvSpPr>
          <p:cNvPr id="12" name="Content Placeholder 2"/>
          <p:cNvSpPr>
            <a:spLocks noGrp="1"/>
          </p:cNvSpPr>
          <p:nvPr>
            <p:ph idx="13"/>
          </p:nvPr>
        </p:nvSpPr>
        <p:spPr>
          <a:xfrm>
            <a:off x="925897" y="1715068"/>
            <a:ext cx="5070627" cy="3949398"/>
          </a:xfrm>
          <a:prstGeom prst="rect">
            <a:avLst/>
          </a:prstGeom>
        </p:spPr>
        <p:txBody>
          <a:bodyPr/>
          <a:lstStyle>
            <a:lvl1pPr>
              <a:defRPr sz="2000">
                <a:solidFill>
                  <a:srgbClr val="59261D"/>
                </a:solidFill>
              </a:defRPr>
            </a:lvl1pPr>
            <a:lvl2pPr>
              <a:defRPr sz="2000">
                <a:solidFill>
                  <a:srgbClr val="59261D"/>
                </a:solidFill>
              </a:defRPr>
            </a:lvl2pPr>
            <a:lvl3pPr marL="1143000" indent="-228600">
              <a:buFont typeface="Courier New"/>
              <a:buChar char="o"/>
              <a:defRPr sz="1600">
                <a:solidFill>
                  <a:srgbClr val="59261D"/>
                </a:solidFill>
              </a:defRPr>
            </a:lvl3pPr>
            <a:lvl4pPr>
              <a:defRPr sz="1600">
                <a:solidFill>
                  <a:srgbClr val="59261D"/>
                </a:solidFill>
              </a:defRPr>
            </a:lvl4pPr>
            <a:lvl5pPr>
              <a:defRPr sz="1600">
                <a:solidFill>
                  <a:srgbClr val="59261D"/>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p:cNvSpPr>
            <a:spLocks noGrp="1"/>
          </p:cNvSpPr>
          <p:nvPr>
            <p:ph idx="14"/>
          </p:nvPr>
        </p:nvSpPr>
        <p:spPr>
          <a:xfrm>
            <a:off x="6183740" y="1715068"/>
            <a:ext cx="5070627" cy="3949398"/>
          </a:xfrm>
          <a:prstGeom prst="rect">
            <a:avLst/>
          </a:prstGeom>
        </p:spPr>
        <p:txBody>
          <a:bodyPr/>
          <a:lstStyle>
            <a:lvl1pPr>
              <a:defRPr sz="2000">
                <a:solidFill>
                  <a:srgbClr val="59261D"/>
                </a:solidFill>
              </a:defRPr>
            </a:lvl1pPr>
            <a:lvl2pPr>
              <a:defRPr sz="2000">
                <a:solidFill>
                  <a:srgbClr val="59261D"/>
                </a:solidFill>
              </a:defRPr>
            </a:lvl2pPr>
            <a:lvl3pPr marL="1143000" indent="-228600">
              <a:buFont typeface="Courier New"/>
              <a:buChar char="o"/>
              <a:defRPr sz="1600">
                <a:solidFill>
                  <a:srgbClr val="59261D"/>
                </a:solidFill>
              </a:defRPr>
            </a:lvl3pPr>
            <a:lvl4pPr>
              <a:defRPr sz="1600">
                <a:solidFill>
                  <a:srgbClr val="59261D"/>
                </a:solidFill>
              </a:defRPr>
            </a:lvl4pPr>
            <a:lvl5pPr>
              <a:defRPr sz="1600">
                <a:solidFill>
                  <a:srgbClr val="59261D"/>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72059" y="5953434"/>
            <a:ext cx="3119941" cy="914400"/>
          </a:xfrm>
          <a:prstGeom prst="rect">
            <a:avLst/>
          </a:prstGeom>
        </p:spPr>
      </p:pic>
      <p:sp>
        <p:nvSpPr>
          <p:cNvPr id="17" name="Slide Number Placeholder 5"/>
          <p:cNvSpPr>
            <a:spLocks noGrp="1"/>
          </p:cNvSpPr>
          <p:nvPr>
            <p:ph type="sldNum" sz="quarter" idx="4"/>
          </p:nvPr>
        </p:nvSpPr>
        <p:spPr>
          <a:xfrm>
            <a:off x="0" y="6423197"/>
            <a:ext cx="776659" cy="365125"/>
          </a:xfrm>
          <a:prstGeom prst="rect">
            <a:avLst/>
          </a:prstGeom>
        </p:spPr>
        <p:txBody>
          <a:bodyPr vert="horz" lIns="91440" tIns="45720" rIns="91440" bIns="45720" rtlCol="0" anchor="ctr"/>
          <a:lstStyle>
            <a:lvl1pPr algn="ctr">
              <a:defRPr sz="1100">
                <a:solidFill>
                  <a:schemeClr val="bg1"/>
                </a:solidFill>
              </a:defRPr>
            </a:lvl1pPr>
          </a:lstStyle>
          <a:p>
            <a:fld id="{B2C1BE1D-F557-C442-9DA9-8F06AF7B7A69}" type="slidenum">
              <a:rPr lang="en-US" smtClean="0"/>
              <a:pPr/>
              <a:t>‹#›</a:t>
            </a:fld>
            <a:endParaRPr lang="en-US"/>
          </a:p>
        </p:txBody>
      </p:sp>
    </p:spTree>
    <p:extLst>
      <p:ext uri="{BB962C8B-B14F-4D97-AF65-F5344CB8AC3E}">
        <p14:creationId xmlns:p14="http://schemas.microsoft.com/office/powerpoint/2010/main" val="313806170"/>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p:cNvSpPr>
            <a:spLocks noGrp="1"/>
          </p:cNvSpPr>
          <p:nvPr>
            <p:ph type="title"/>
          </p:nvPr>
        </p:nvSpPr>
        <p:spPr>
          <a:xfrm>
            <a:off x="925898" y="493382"/>
            <a:ext cx="10340205" cy="567955"/>
          </a:xfrm>
          <a:prstGeom prst="rect">
            <a:avLst/>
          </a:prstGeom>
        </p:spPr>
        <p:txBody>
          <a:bodyPr/>
          <a:lstStyle>
            <a:lvl1pPr algn="l">
              <a:defRPr sz="2800" b="1" i="0">
                <a:solidFill>
                  <a:srgbClr val="59261D"/>
                </a:solidFill>
              </a:defRPr>
            </a:lvl1pPr>
          </a:lstStyle>
          <a:p>
            <a:r>
              <a:rPr lang="en-US"/>
              <a:t>Click to edit Master title style</a:t>
            </a:r>
          </a:p>
        </p:txBody>
      </p:sp>
      <p:cxnSp>
        <p:nvCxnSpPr>
          <p:cNvPr id="12" name="Straight Connector 11"/>
          <p:cNvCxnSpPr/>
          <p:nvPr userDrawn="1"/>
        </p:nvCxnSpPr>
        <p:spPr>
          <a:xfrm>
            <a:off x="925898" y="1116151"/>
            <a:ext cx="10340205" cy="0"/>
          </a:xfrm>
          <a:prstGeom prst="line">
            <a:avLst/>
          </a:prstGeom>
          <a:ln w="19050" cmpd="sng">
            <a:solidFill>
              <a:srgbClr val="59261D"/>
            </a:solidFill>
          </a:ln>
        </p:spPr>
        <p:style>
          <a:lnRef idx="1">
            <a:schemeClr val="dk1"/>
          </a:lnRef>
          <a:fillRef idx="0">
            <a:schemeClr val="dk1"/>
          </a:fillRef>
          <a:effectRef idx="0">
            <a:schemeClr val="dk1"/>
          </a:effectRef>
          <a:fontRef idx="minor">
            <a:schemeClr val="tx1"/>
          </a:fontRef>
        </p:style>
      </p:cxnSp>
      <p:sp>
        <p:nvSpPr>
          <p:cNvPr id="20" name="Text Placeholder 19"/>
          <p:cNvSpPr>
            <a:spLocks noGrp="1"/>
          </p:cNvSpPr>
          <p:nvPr>
            <p:ph type="body" sz="quarter" idx="15"/>
          </p:nvPr>
        </p:nvSpPr>
        <p:spPr>
          <a:xfrm>
            <a:off x="925898" y="3108326"/>
            <a:ext cx="10340205" cy="491411"/>
          </a:xfrm>
          <a:prstGeom prst="rect">
            <a:avLst/>
          </a:prstGeom>
        </p:spPr>
        <p:txBody>
          <a:bodyPr vert="horz"/>
          <a:lstStyle>
            <a:lvl1pPr marL="0" indent="0">
              <a:buNone/>
              <a:defRPr sz="2400">
                <a:solidFill>
                  <a:srgbClr val="32A4D7"/>
                </a:solidFill>
              </a:defRPr>
            </a:lvl1pPr>
          </a:lstStyle>
          <a:p>
            <a:pPr lvl="0"/>
            <a:r>
              <a:rPr lang="en-US"/>
              <a:t>Click to edit Master text styles</a:t>
            </a:r>
          </a:p>
        </p:txBody>
      </p:sp>
      <p:sp>
        <p:nvSpPr>
          <p:cNvPr id="8" name="Content Placeholder 2"/>
          <p:cNvSpPr>
            <a:spLocks noGrp="1"/>
          </p:cNvSpPr>
          <p:nvPr>
            <p:ph idx="1"/>
          </p:nvPr>
        </p:nvSpPr>
        <p:spPr>
          <a:xfrm>
            <a:off x="925898" y="1280436"/>
            <a:ext cx="10340205" cy="1688891"/>
          </a:xfrm>
          <a:prstGeom prst="rect">
            <a:avLst/>
          </a:prstGeom>
        </p:spPr>
        <p:txBody>
          <a:bodyPr/>
          <a:lstStyle>
            <a:lvl1pPr>
              <a:defRPr sz="2000">
                <a:solidFill>
                  <a:srgbClr val="59261D"/>
                </a:solidFill>
              </a:defRPr>
            </a:lvl1pPr>
            <a:lvl2pPr>
              <a:defRPr sz="2000">
                <a:solidFill>
                  <a:srgbClr val="59261D"/>
                </a:solidFill>
              </a:defRPr>
            </a:lvl2pPr>
            <a:lvl3pPr marL="1143000" indent="-228600">
              <a:buFont typeface="Courier New"/>
              <a:buChar char="o"/>
              <a:defRPr sz="1600">
                <a:solidFill>
                  <a:srgbClr val="59261D"/>
                </a:solidFill>
              </a:defRPr>
            </a:lvl3pPr>
            <a:lvl4pPr>
              <a:defRPr sz="1600">
                <a:solidFill>
                  <a:srgbClr val="59261D"/>
                </a:solidFill>
              </a:defRPr>
            </a:lvl4pPr>
            <a:lvl5pPr>
              <a:defRPr sz="1600">
                <a:solidFill>
                  <a:srgbClr val="59261D"/>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6"/>
          </p:nvPr>
        </p:nvSpPr>
        <p:spPr>
          <a:xfrm>
            <a:off x="925898" y="3740092"/>
            <a:ext cx="10340205" cy="1942740"/>
          </a:xfrm>
          <a:prstGeom prst="rect">
            <a:avLst/>
          </a:prstGeom>
        </p:spPr>
        <p:txBody>
          <a:bodyPr/>
          <a:lstStyle>
            <a:lvl1pPr>
              <a:defRPr sz="2000">
                <a:solidFill>
                  <a:srgbClr val="59261D"/>
                </a:solidFill>
              </a:defRPr>
            </a:lvl1pPr>
            <a:lvl2pPr>
              <a:defRPr sz="2000">
                <a:solidFill>
                  <a:srgbClr val="59261D"/>
                </a:solidFill>
              </a:defRPr>
            </a:lvl2pPr>
            <a:lvl3pPr marL="1143000" indent="-228600">
              <a:buFont typeface="Courier New"/>
              <a:buChar char="o"/>
              <a:defRPr sz="1600">
                <a:solidFill>
                  <a:srgbClr val="59261D"/>
                </a:solidFill>
              </a:defRPr>
            </a:lvl3pPr>
            <a:lvl4pPr>
              <a:defRPr sz="1600">
                <a:solidFill>
                  <a:srgbClr val="59261D"/>
                </a:solidFill>
              </a:defRPr>
            </a:lvl4pPr>
            <a:lvl5pPr>
              <a:defRPr sz="1600">
                <a:solidFill>
                  <a:srgbClr val="59261D"/>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72059" y="5953434"/>
            <a:ext cx="3119941" cy="914400"/>
          </a:xfrm>
          <a:prstGeom prst="rect">
            <a:avLst/>
          </a:prstGeom>
        </p:spPr>
      </p:pic>
      <p:sp>
        <p:nvSpPr>
          <p:cNvPr id="15" name="Slide Number Placeholder 5"/>
          <p:cNvSpPr>
            <a:spLocks noGrp="1"/>
          </p:cNvSpPr>
          <p:nvPr>
            <p:ph type="sldNum" sz="quarter" idx="4"/>
          </p:nvPr>
        </p:nvSpPr>
        <p:spPr>
          <a:xfrm>
            <a:off x="0" y="6423197"/>
            <a:ext cx="776659" cy="365125"/>
          </a:xfrm>
          <a:prstGeom prst="rect">
            <a:avLst/>
          </a:prstGeom>
        </p:spPr>
        <p:txBody>
          <a:bodyPr vert="horz" lIns="91440" tIns="45720" rIns="91440" bIns="45720" rtlCol="0" anchor="ctr"/>
          <a:lstStyle>
            <a:lvl1pPr algn="ctr">
              <a:defRPr sz="1100">
                <a:solidFill>
                  <a:schemeClr val="bg1"/>
                </a:solidFill>
              </a:defRPr>
            </a:lvl1pPr>
          </a:lstStyle>
          <a:p>
            <a:fld id="{B2C1BE1D-F557-C442-9DA9-8F06AF7B7A69}" type="slidenum">
              <a:rPr lang="en-US" smtClean="0"/>
              <a:pPr/>
              <a:t>‹#›</a:t>
            </a:fld>
            <a:endParaRPr lang="en-US"/>
          </a:p>
        </p:txBody>
      </p:sp>
    </p:spTree>
    <p:extLst>
      <p:ext uri="{BB962C8B-B14F-4D97-AF65-F5344CB8AC3E}">
        <p14:creationId xmlns:p14="http://schemas.microsoft.com/office/powerpoint/2010/main" val="2863372461"/>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25897" y="273050"/>
            <a:ext cx="3694787" cy="1162051"/>
          </a:xfrm>
          <a:prstGeom prst="rect">
            <a:avLst/>
          </a:prstGeom>
        </p:spPr>
        <p:txBody>
          <a:bodyPr anchor="b"/>
          <a:lstStyle>
            <a:lvl1pPr algn="l">
              <a:defRPr sz="2400" b="1">
                <a:solidFill>
                  <a:srgbClr val="59261D"/>
                </a:solidFill>
              </a:defRPr>
            </a:lvl1pPr>
          </a:lstStyle>
          <a:p>
            <a:r>
              <a:rPr lang="en-US"/>
              <a:t>Click to edit Master title style</a:t>
            </a:r>
          </a:p>
        </p:txBody>
      </p:sp>
      <p:sp>
        <p:nvSpPr>
          <p:cNvPr id="4" name="Text Placeholder 3"/>
          <p:cNvSpPr>
            <a:spLocks noGrp="1"/>
          </p:cNvSpPr>
          <p:nvPr>
            <p:ph type="body" sz="half" idx="2"/>
          </p:nvPr>
        </p:nvSpPr>
        <p:spPr>
          <a:xfrm>
            <a:off x="925897" y="1435105"/>
            <a:ext cx="3694787" cy="4476138"/>
          </a:xfrm>
          <a:prstGeom prst="rect">
            <a:avLst/>
          </a:prstGeom>
        </p:spPr>
        <p:txBody>
          <a:bodyPr/>
          <a:lstStyle>
            <a:lvl1pPr marL="0" indent="0">
              <a:buNone/>
              <a:defRPr sz="2400">
                <a:solidFill>
                  <a:srgbClr val="59261D"/>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Content Placeholder 2"/>
          <p:cNvSpPr>
            <a:spLocks noGrp="1"/>
          </p:cNvSpPr>
          <p:nvPr>
            <p:ph idx="1"/>
          </p:nvPr>
        </p:nvSpPr>
        <p:spPr>
          <a:xfrm>
            <a:off x="4848780" y="273050"/>
            <a:ext cx="5567568" cy="5638193"/>
          </a:xfrm>
          <a:prstGeom prst="rect">
            <a:avLst/>
          </a:prstGeom>
        </p:spPr>
        <p:txBody>
          <a:bodyPr/>
          <a:lstStyle>
            <a:lvl1pPr>
              <a:defRPr sz="2000">
                <a:solidFill>
                  <a:srgbClr val="59261D"/>
                </a:solidFill>
              </a:defRPr>
            </a:lvl1pPr>
            <a:lvl2pPr>
              <a:defRPr sz="2000">
                <a:solidFill>
                  <a:srgbClr val="59261D"/>
                </a:solidFill>
              </a:defRPr>
            </a:lvl2pPr>
            <a:lvl3pPr marL="1143000" indent="-228600">
              <a:buFont typeface="Courier New"/>
              <a:buChar char="o"/>
              <a:defRPr sz="1600">
                <a:solidFill>
                  <a:srgbClr val="59261D"/>
                </a:solidFill>
              </a:defRPr>
            </a:lvl3pPr>
            <a:lvl4pPr>
              <a:defRPr sz="1600">
                <a:solidFill>
                  <a:srgbClr val="59261D"/>
                </a:solidFill>
              </a:defRPr>
            </a:lvl4pPr>
            <a:lvl5pPr>
              <a:defRPr sz="1600">
                <a:solidFill>
                  <a:srgbClr val="59261D"/>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72059" y="5953434"/>
            <a:ext cx="3119941" cy="914400"/>
          </a:xfrm>
          <a:prstGeom prst="rect">
            <a:avLst/>
          </a:prstGeom>
        </p:spPr>
      </p:pic>
      <p:sp>
        <p:nvSpPr>
          <p:cNvPr id="10" name="Slide Number Placeholder 5"/>
          <p:cNvSpPr>
            <a:spLocks noGrp="1"/>
          </p:cNvSpPr>
          <p:nvPr>
            <p:ph type="sldNum" sz="quarter" idx="4"/>
          </p:nvPr>
        </p:nvSpPr>
        <p:spPr>
          <a:xfrm>
            <a:off x="0" y="6423197"/>
            <a:ext cx="776659" cy="365125"/>
          </a:xfrm>
          <a:prstGeom prst="rect">
            <a:avLst/>
          </a:prstGeom>
        </p:spPr>
        <p:txBody>
          <a:bodyPr vert="horz" lIns="91440" tIns="45720" rIns="91440" bIns="45720" rtlCol="0" anchor="ctr"/>
          <a:lstStyle>
            <a:lvl1pPr algn="ctr">
              <a:defRPr sz="1100">
                <a:solidFill>
                  <a:schemeClr val="bg1"/>
                </a:solidFill>
              </a:defRPr>
            </a:lvl1pPr>
          </a:lstStyle>
          <a:p>
            <a:fld id="{B2C1BE1D-F557-C442-9DA9-8F06AF7B7A69}" type="slidenum">
              <a:rPr lang="en-US" smtClean="0"/>
              <a:pPr/>
              <a:t>‹#›</a:t>
            </a:fld>
            <a:endParaRPr lang="en-US"/>
          </a:p>
        </p:txBody>
      </p:sp>
    </p:spTree>
    <p:extLst>
      <p:ext uri="{BB962C8B-B14F-4D97-AF65-F5344CB8AC3E}">
        <p14:creationId xmlns:p14="http://schemas.microsoft.com/office/powerpoint/2010/main" val="452156681"/>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945304" y="4800602"/>
            <a:ext cx="6204027" cy="566739"/>
          </a:xfrm>
          <a:prstGeom prst="rect">
            <a:avLst/>
          </a:prstGeom>
        </p:spPr>
        <p:txBody>
          <a:bodyPr anchor="b"/>
          <a:lstStyle>
            <a:lvl1pPr algn="l">
              <a:defRPr sz="2000" b="1">
                <a:solidFill>
                  <a:srgbClr val="59261D"/>
                </a:solidFill>
              </a:defRPr>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p>
        </p:txBody>
      </p:sp>
      <p:sp>
        <p:nvSpPr>
          <p:cNvPr id="4" name="Text Placeholder 3"/>
          <p:cNvSpPr>
            <a:spLocks noGrp="1"/>
          </p:cNvSpPr>
          <p:nvPr>
            <p:ph type="body" sz="half" idx="2"/>
          </p:nvPr>
        </p:nvSpPr>
        <p:spPr>
          <a:xfrm>
            <a:off x="2945304" y="5367342"/>
            <a:ext cx="6204027" cy="804863"/>
          </a:xfrm>
          <a:prstGeom prst="rect">
            <a:avLst/>
          </a:prstGeom>
        </p:spPr>
        <p:txBody>
          <a:bodyPr/>
          <a:lstStyle>
            <a:lvl1pPr marL="0" indent="0">
              <a:buNone/>
              <a:defRPr sz="1400" b="0" i="1">
                <a:solidFill>
                  <a:srgbClr val="59261D"/>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72059" y="5953434"/>
            <a:ext cx="3119941" cy="914400"/>
          </a:xfrm>
          <a:prstGeom prst="rect">
            <a:avLst/>
          </a:prstGeom>
        </p:spPr>
      </p:pic>
      <p:sp>
        <p:nvSpPr>
          <p:cNvPr id="10" name="Slide Number Placeholder 5"/>
          <p:cNvSpPr>
            <a:spLocks noGrp="1"/>
          </p:cNvSpPr>
          <p:nvPr>
            <p:ph type="sldNum" sz="quarter" idx="4"/>
          </p:nvPr>
        </p:nvSpPr>
        <p:spPr>
          <a:xfrm>
            <a:off x="0" y="6423197"/>
            <a:ext cx="776659" cy="365125"/>
          </a:xfrm>
          <a:prstGeom prst="rect">
            <a:avLst/>
          </a:prstGeom>
        </p:spPr>
        <p:txBody>
          <a:bodyPr vert="horz" lIns="91440" tIns="45720" rIns="91440" bIns="45720" rtlCol="0" anchor="ctr"/>
          <a:lstStyle>
            <a:lvl1pPr algn="ctr">
              <a:defRPr sz="1100">
                <a:solidFill>
                  <a:schemeClr val="bg1"/>
                </a:solidFill>
              </a:defRPr>
            </a:lvl1pPr>
          </a:lstStyle>
          <a:p>
            <a:fld id="{B2C1BE1D-F557-C442-9DA9-8F06AF7B7A69}" type="slidenum">
              <a:rPr lang="en-US" smtClean="0"/>
              <a:pPr/>
              <a:t>‹#›</a:t>
            </a:fld>
            <a:endParaRPr lang="en-US"/>
          </a:p>
        </p:txBody>
      </p:sp>
    </p:spTree>
    <p:extLst>
      <p:ext uri="{BB962C8B-B14F-4D97-AF65-F5344CB8AC3E}">
        <p14:creationId xmlns:p14="http://schemas.microsoft.com/office/powerpoint/2010/main" val="40398313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72059" y="5953434"/>
            <a:ext cx="3119941" cy="914400"/>
          </a:xfrm>
          <a:prstGeom prst="rect">
            <a:avLst/>
          </a:prstGeom>
        </p:spPr>
      </p:pic>
    </p:spTree>
    <p:extLst>
      <p:ext uri="{BB962C8B-B14F-4D97-AF65-F5344CB8AC3E}">
        <p14:creationId xmlns:p14="http://schemas.microsoft.com/office/powerpoint/2010/main" val="1128167022"/>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0670" y="1353835"/>
            <a:ext cx="10370661" cy="1470025"/>
          </a:xfrm>
          <a:prstGeom prst="rect">
            <a:avLst/>
          </a:prstGeom>
        </p:spPr>
        <p:txBody>
          <a:bodyPr anchor="b"/>
          <a:lstStyle>
            <a:lvl1pPr>
              <a:defRPr sz="5400" b="1" i="0">
                <a:solidFill>
                  <a:schemeClr val="bg1"/>
                </a:solidFill>
              </a:defRPr>
            </a:lvl1pPr>
          </a:lstStyle>
          <a:p>
            <a:r>
              <a:rPr lang="en-US"/>
              <a:t>Click to edit Master title style</a:t>
            </a:r>
          </a:p>
        </p:txBody>
      </p:sp>
      <p:sp>
        <p:nvSpPr>
          <p:cNvPr id="3" name="Subtitle 2"/>
          <p:cNvSpPr>
            <a:spLocks noGrp="1"/>
          </p:cNvSpPr>
          <p:nvPr>
            <p:ph type="subTitle" idx="1"/>
          </p:nvPr>
        </p:nvSpPr>
        <p:spPr>
          <a:xfrm>
            <a:off x="1828800" y="2990839"/>
            <a:ext cx="8534400" cy="1752600"/>
          </a:xfrm>
          <a:prstGeom prst="rect">
            <a:avLst/>
          </a:prstGeom>
        </p:spPr>
        <p:txBody>
          <a:bodyPr/>
          <a:lstStyle>
            <a:lvl1pPr marL="0" indent="0" algn="ctr">
              <a:buNone/>
              <a:defRPr sz="3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6" name="Slide Number Placeholder 5"/>
          <p:cNvSpPr>
            <a:spLocks noGrp="1"/>
          </p:cNvSpPr>
          <p:nvPr>
            <p:ph type="sldNum" sz="quarter" idx="12"/>
          </p:nvPr>
        </p:nvSpPr>
        <p:spPr>
          <a:xfrm>
            <a:off x="11415343" y="6423197"/>
            <a:ext cx="740109" cy="365125"/>
          </a:xfrm>
          <a:prstGeom prst="rect">
            <a:avLst/>
          </a:prstGeom>
        </p:spPr>
        <p:txBody>
          <a:bodyPr/>
          <a:lstStyle/>
          <a:p>
            <a:fld id="{B2C1BE1D-F557-C442-9DA9-8F06AF7B7A69}" type="slidenum">
              <a:rPr lang="en-US" smtClean="0"/>
              <a:t>‹#›</a:t>
            </a:fld>
            <a:endParaRPr lang="en-US"/>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5932960"/>
            <a:ext cx="3135536" cy="918971"/>
          </a:xfrm>
          <a:prstGeom prst="rect">
            <a:avLst/>
          </a:prstGeom>
        </p:spPr>
      </p:pic>
    </p:spTree>
    <p:extLst>
      <p:ext uri="{BB962C8B-B14F-4D97-AF65-F5344CB8AC3E}">
        <p14:creationId xmlns:p14="http://schemas.microsoft.com/office/powerpoint/2010/main" val="2181689699"/>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11415343" y="6423197"/>
            <a:ext cx="740109" cy="365125"/>
          </a:xfrm>
          <a:prstGeom prst="rect">
            <a:avLst/>
          </a:prstGeom>
        </p:spPr>
        <p:txBody>
          <a:bodyPr/>
          <a:lstStyle/>
          <a:p>
            <a:fld id="{B2C1BE1D-F557-C442-9DA9-8F06AF7B7A69}" type="slidenum">
              <a:rPr lang="en-US" smtClean="0"/>
              <a:t>‹#›</a:t>
            </a:fld>
            <a:endParaRPr lang="en-US"/>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5932960"/>
            <a:ext cx="3135536" cy="918971"/>
          </a:xfrm>
          <a:prstGeom prst="rect">
            <a:avLst/>
          </a:prstGeom>
        </p:spPr>
      </p:pic>
    </p:spTree>
    <p:extLst>
      <p:ext uri="{BB962C8B-B14F-4D97-AF65-F5344CB8AC3E}">
        <p14:creationId xmlns:p14="http://schemas.microsoft.com/office/powerpoint/2010/main" val="147234856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0670" y="1353835"/>
            <a:ext cx="10370661" cy="1470025"/>
          </a:xfrm>
          <a:prstGeom prst="rect">
            <a:avLst/>
          </a:prstGeom>
        </p:spPr>
        <p:txBody>
          <a:bodyPr anchor="b"/>
          <a:lstStyle>
            <a:lvl1pPr>
              <a:defRPr sz="5400" b="1" i="0">
                <a:solidFill>
                  <a:schemeClr val="bg1"/>
                </a:solidFill>
              </a:defRPr>
            </a:lvl1pPr>
          </a:lstStyle>
          <a:p>
            <a:r>
              <a:rPr lang="en-US"/>
              <a:t>Click to edit Master title style</a:t>
            </a:r>
          </a:p>
        </p:txBody>
      </p:sp>
      <p:sp>
        <p:nvSpPr>
          <p:cNvPr id="3" name="Subtitle 2"/>
          <p:cNvSpPr>
            <a:spLocks noGrp="1"/>
          </p:cNvSpPr>
          <p:nvPr>
            <p:ph type="subTitle" idx="1"/>
          </p:nvPr>
        </p:nvSpPr>
        <p:spPr>
          <a:xfrm>
            <a:off x="1828800" y="2990839"/>
            <a:ext cx="8534400" cy="1752600"/>
          </a:xfrm>
          <a:prstGeom prst="rect">
            <a:avLst/>
          </a:prstGeom>
        </p:spPr>
        <p:txBody>
          <a:bodyPr/>
          <a:lstStyle>
            <a:lvl1pPr marL="0" indent="0" algn="ctr">
              <a:buNone/>
              <a:defRPr sz="3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6" name="Slide Number Placeholder 5"/>
          <p:cNvSpPr>
            <a:spLocks noGrp="1"/>
          </p:cNvSpPr>
          <p:nvPr>
            <p:ph type="sldNum" sz="quarter" idx="12"/>
          </p:nvPr>
        </p:nvSpPr>
        <p:spPr>
          <a:xfrm>
            <a:off x="11415343" y="6423197"/>
            <a:ext cx="740109" cy="365125"/>
          </a:xfrm>
          <a:prstGeom prst="rect">
            <a:avLst/>
          </a:prstGeom>
        </p:spPr>
        <p:txBody>
          <a:bodyPr/>
          <a:lstStyle/>
          <a:p>
            <a:fld id="{B2C1BE1D-F557-C442-9DA9-8F06AF7B7A69}" type="slidenum">
              <a:rPr lang="en-US" smtClean="0"/>
              <a:t>‹#›</a:t>
            </a:fld>
            <a:endParaRPr lang="en-US"/>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5932960"/>
            <a:ext cx="3135536" cy="918971"/>
          </a:xfrm>
          <a:prstGeom prst="rect">
            <a:avLst/>
          </a:prstGeom>
        </p:spPr>
      </p:pic>
      <p:pic>
        <p:nvPicPr>
          <p:cNvPr id="4" name="Picture 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507233" y="6002934"/>
            <a:ext cx="2003551" cy="772770"/>
          </a:xfrm>
          <a:prstGeom prst="rect">
            <a:avLst/>
          </a:prstGeom>
        </p:spPr>
      </p:pic>
      <p:pic>
        <p:nvPicPr>
          <p:cNvPr id="5" name="Picture 4"/>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070808" y="5969990"/>
            <a:ext cx="949369" cy="805714"/>
          </a:xfrm>
          <a:prstGeom prst="rect">
            <a:avLst/>
          </a:prstGeom>
        </p:spPr>
      </p:pic>
    </p:spTree>
    <p:extLst>
      <p:ext uri="{BB962C8B-B14F-4D97-AF65-F5344CB8AC3E}">
        <p14:creationId xmlns:p14="http://schemas.microsoft.com/office/powerpoint/2010/main" val="2529411753"/>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11415343" y="6423197"/>
            <a:ext cx="740109" cy="365125"/>
          </a:xfrm>
          <a:prstGeom prst="rect">
            <a:avLst/>
          </a:prstGeom>
        </p:spPr>
        <p:txBody>
          <a:bodyPr/>
          <a:lstStyle/>
          <a:p>
            <a:fld id="{B2C1BE1D-F557-C442-9DA9-8F06AF7B7A69}" type="slidenum">
              <a:rPr lang="en-US" smtClean="0"/>
              <a:t>‹#›</a:t>
            </a:fld>
            <a:endParaRPr lang="en-US"/>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5932960"/>
            <a:ext cx="3135536" cy="918971"/>
          </a:xfrm>
          <a:prstGeom prst="rect">
            <a:avLst/>
          </a:prstGeom>
        </p:spPr>
      </p:pic>
      <p:pic>
        <p:nvPicPr>
          <p:cNvPr id="6" name="Pictur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507233" y="6002934"/>
            <a:ext cx="2003551" cy="772770"/>
          </a:xfrm>
          <a:prstGeom prst="rect">
            <a:avLst/>
          </a:prstGeom>
        </p:spPr>
      </p:pic>
      <p:pic>
        <p:nvPicPr>
          <p:cNvPr id="7" name="Picture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070808" y="5969990"/>
            <a:ext cx="949369" cy="805714"/>
          </a:xfrm>
          <a:prstGeom prst="rect">
            <a:avLst/>
          </a:prstGeom>
        </p:spPr>
      </p:pic>
    </p:spTree>
    <p:extLst>
      <p:ext uri="{BB962C8B-B14F-4D97-AF65-F5344CB8AC3E}">
        <p14:creationId xmlns:p14="http://schemas.microsoft.com/office/powerpoint/2010/main" val="1160378642"/>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0670" y="1353835"/>
            <a:ext cx="10370661" cy="1470025"/>
          </a:xfrm>
          <a:prstGeom prst="rect">
            <a:avLst/>
          </a:prstGeom>
        </p:spPr>
        <p:txBody>
          <a:bodyPr anchor="b"/>
          <a:lstStyle>
            <a:lvl1pPr>
              <a:defRPr sz="5400" b="1" i="0">
                <a:solidFill>
                  <a:schemeClr val="bg1"/>
                </a:solidFill>
              </a:defRPr>
            </a:lvl1pPr>
          </a:lstStyle>
          <a:p>
            <a:r>
              <a:rPr lang="en-US"/>
              <a:t>Click to edit Master title style</a:t>
            </a:r>
          </a:p>
        </p:txBody>
      </p:sp>
      <p:sp>
        <p:nvSpPr>
          <p:cNvPr id="3" name="Subtitle 2"/>
          <p:cNvSpPr>
            <a:spLocks noGrp="1"/>
          </p:cNvSpPr>
          <p:nvPr>
            <p:ph type="subTitle" idx="1"/>
          </p:nvPr>
        </p:nvSpPr>
        <p:spPr>
          <a:xfrm>
            <a:off x="1828800" y="2990839"/>
            <a:ext cx="8534400" cy="1752600"/>
          </a:xfrm>
          <a:prstGeom prst="rect">
            <a:avLst/>
          </a:prstGeom>
        </p:spPr>
        <p:txBody>
          <a:bodyPr/>
          <a:lstStyle>
            <a:lvl1pPr marL="0" indent="0" algn="ctr">
              <a:buNone/>
              <a:defRPr sz="3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6" name="Slide Number Placeholder 5"/>
          <p:cNvSpPr>
            <a:spLocks noGrp="1"/>
          </p:cNvSpPr>
          <p:nvPr>
            <p:ph type="sldNum" sz="quarter" idx="12"/>
          </p:nvPr>
        </p:nvSpPr>
        <p:spPr>
          <a:xfrm>
            <a:off x="11415343" y="6423197"/>
            <a:ext cx="740109" cy="365125"/>
          </a:xfrm>
          <a:prstGeom prst="rect">
            <a:avLst/>
          </a:prstGeom>
        </p:spPr>
        <p:txBody>
          <a:bodyPr/>
          <a:lstStyle/>
          <a:p>
            <a:fld id="{B2C1BE1D-F557-C442-9DA9-8F06AF7B7A69}" type="slidenum">
              <a:rPr lang="en-US" smtClean="0"/>
              <a:t>‹#›</a:t>
            </a:fld>
            <a:endParaRPr lang="en-US"/>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5932960"/>
            <a:ext cx="3135536" cy="918971"/>
          </a:xfrm>
          <a:prstGeom prst="rect">
            <a:avLst/>
          </a:prstGeom>
        </p:spPr>
      </p:pic>
      <p:pic>
        <p:nvPicPr>
          <p:cNvPr id="4" name="Picture 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507233" y="6002934"/>
            <a:ext cx="2003551" cy="772770"/>
          </a:xfrm>
          <a:prstGeom prst="rect">
            <a:avLst/>
          </a:prstGeom>
        </p:spPr>
      </p:pic>
    </p:spTree>
    <p:extLst>
      <p:ext uri="{BB962C8B-B14F-4D97-AF65-F5344CB8AC3E}">
        <p14:creationId xmlns:p14="http://schemas.microsoft.com/office/powerpoint/2010/main" val="3252151924"/>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11415343" y="6423197"/>
            <a:ext cx="740109" cy="365125"/>
          </a:xfrm>
          <a:prstGeom prst="rect">
            <a:avLst/>
          </a:prstGeom>
        </p:spPr>
        <p:txBody>
          <a:bodyPr/>
          <a:lstStyle/>
          <a:p>
            <a:fld id="{B2C1BE1D-F557-C442-9DA9-8F06AF7B7A69}" type="slidenum">
              <a:rPr lang="en-US" smtClean="0"/>
              <a:t>‹#›</a:t>
            </a:fld>
            <a:endParaRPr lang="en-US"/>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5932960"/>
            <a:ext cx="3135536" cy="918971"/>
          </a:xfrm>
          <a:prstGeom prst="rect">
            <a:avLst/>
          </a:prstGeom>
        </p:spPr>
      </p:pic>
      <p:pic>
        <p:nvPicPr>
          <p:cNvPr id="6" name="Pictur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507233" y="6002934"/>
            <a:ext cx="2003551" cy="772770"/>
          </a:xfrm>
          <a:prstGeom prst="rect">
            <a:avLst/>
          </a:prstGeom>
        </p:spPr>
      </p:pic>
    </p:spTree>
    <p:extLst>
      <p:ext uri="{BB962C8B-B14F-4D97-AF65-F5344CB8AC3E}">
        <p14:creationId xmlns:p14="http://schemas.microsoft.com/office/powerpoint/2010/main" val="418353897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0670" y="1353835"/>
            <a:ext cx="10370661" cy="1470025"/>
          </a:xfrm>
          <a:prstGeom prst="rect">
            <a:avLst/>
          </a:prstGeom>
        </p:spPr>
        <p:txBody>
          <a:bodyPr anchor="b"/>
          <a:lstStyle>
            <a:lvl1pPr>
              <a:defRPr sz="5400" b="1" i="0">
                <a:solidFill>
                  <a:schemeClr val="bg1"/>
                </a:solidFill>
              </a:defRPr>
            </a:lvl1pPr>
          </a:lstStyle>
          <a:p>
            <a:r>
              <a:rPr lang="en-US"/>
              <a:t>Click to edit Master title style</a:t>
            </a:r>
          </a:p>
        </p:txBody>
      </p:sp>
      <p:sp>
        <p:nvSpPr>
          <p:cNvPr id="3" name="Subtitle 2"/>
          <p:cNvSpPr>
            <a:spLocks noGrp="1"/>
          </p:cNvSpPr>
          <p:nvPr>
            <p:ph type="subTitle" idx="1"/>
          </p:nvPr>
        </p:nvSpPr>
        <p:spPr>
          <a:xfrm>
            <a:off x="1828800" y="2990839"/>
            <a:ext cx="8534400" cy="1752600"/>
          </a:xfrm>
          <a:prstGeom prst="rect">
            <a:avLst/>
          </a:prstGeom>
        </p:spPr>
        <p:txBody>
          <a:bodyPr/>
          <a:lstStyle>
            <a:lvl1pPr marL="0" indent="0" algn="ctr">
              <a:buNone/>
              <a:defRPr sz="3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6" name="Slide Number Placeholder 5"/>
          <p:cNvSpPr>
            <a:spLocks noGrp="1"/>
          </p:cNvSpPr>
          <p:nvPr>
            <p:ph type="sldNum" sz="quarter" idx="12"/>
          </p:nvPr>
        </p:nvSpPr>
        <p:spPr>
          <a:xfrm>
            <a:off x="11415343" y="6423197"/>
            <a:ext cx="740109" cy="365125"/>
          </a:xfrm>
          <a:prstGeom prst="rect">
            <a:avLst/>
          </a:prstGeom>
        </p:spPr>
        <p:txBody>
          <a:bodyPr/>
          <a:lstStyle/>
          <a:p>
            <a:fld id="{B2C1BE1D-F557-C442-9DA9-8F06AF7B7A69}" type="slidenum">
              <a:rPr lang="en-US" smtClean="0"/>
              <a:t>‹#›</a:t>
            </a:fld>
            <a:endParaRPr lang="en-US"/>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5932960"/>
            <a:ext cx="3135536" cy="918971"/>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291032" y="5969990"/>
            <a:ext cx="949369" cy="805714"/>
          </a:xfrm>
          <a:prstGeom prst="rect">
            <a:avLst/>
          </a:prstGeom>
        </p:spPr>
      </p:pic>
    </p:spTree>
    <p:extLst>
      <p:ext uri="{BB962C8B-B14F-4D97-AF65-F5344CB8AC3E}">
        <p14:creationId xmlns:p14="http://schemas.microsoft.com/office/powerpoint/2010/main" val="1174426009"/>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11415343" y="6423197"/>
            <a:ext cx="740109" cy="365125"/>
          </a:xfrm>
          <a:prstGeom prst="rect">
            <a:avLst/>
          </a:prstGeom>
        </p:spPr>
        <p:txBody>
          <a:bodyPr/>
          <a:lstStyle/>
          <a:p>
            <a:fld id="{B2C1BE1D-F557-C442-9DA9-8F06AF7B7A69}" type="slidenum">
              <a:rPr lang="en-US" smtClean="0"/>
              <a:t>‹#›</a:t>
            </a:fld>
            <a:endParaRPr lang="en-US"/>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5932960"/>
            <a:ext cx="3135536" cy="918971"/>
          </a:xfrm>
          <a:prstGeom prst="rect">
            <a:avLst/>
          </a:prstGeom>
        </p:spPr>
      </p:pic>
      <p:pic>
        <p:nvPicPr>
          <p:cNvPr id="8" name="Picture 7"/>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291032" y="5969990"/>
            <a:ext cx="949369" cy="805714"/>
          </a:xfrm>
          <a:prstGeom prst="rect">
            <a:avLst/>
          </a:prstGeom>
        </p:spPr>
      </p:pic>
    </p:spTree>
    <p:extLst>
      <p:ext uri="{BB962C8B-B14F-4D97-AF65-F5344CB8AC3E}">
        <p14:creationId xmlns:p14="http://schemas.microsoft.com/office/powerpoint/2010/main" val="2387279224"/>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590"/>
            <a:ext cx="9144000" cy="2387487"/>
          </a:xfrm>
          <a:prstGeom prst="rect">
            <a:avLst/>
          </a:prstGeom>
        </p:spPr>
        <p:txBody>
          <a:bodyPr anchor="b"/>
          <a:lstStyle>
            <a:lvl1pPr algn="ctr">
              <a:defRPr sz="1482"/>
            </a:lvl1pPr>
          </a:lstStyle>
          <a:p>
            <a:r>
              <a:rPr lang="en-US"/>
              <a:t>Click to edit Master title style</a:t>
            </a:r>
          </a:p>
        </p:txBody>
      </p:sp>
      <p:sp>
        <p:nvSpPr>
          <p:cNvPr id="3" name="Subtitle 2"/>
          <p:cNvSpPr>
            <a:spLocks noGrp="1"/>
          </p:cNvSpPr>
          <p:nvPr>
            <p:ph type="subTitle" idx="1"/>
          </p:nvPr>
        </p:nvSpPr>
        <p:spPr>
          <a:xfrm>
            <a:off x="1524000" y="3601924"/>
            <a:ext cx="9144000" cy="1656103"/>
          </a:xfrm>
          <a:prstGeom prst="rect">
            <a:avLst/>
          </a:prstGeom>
        </p:spPr>
        <p:txBody>
          <a:bodyPr/>
          <a:lstStyle>
            <a:lvl1pPr marL="0" indent="0" algn="ctr">
              <a:buNone/>
              <a:defRPr sz="593"/>
            </a:lvl1pPr>
            <a:lvl2pPr marL="112901" indent="0" algn="ctr">
              <a:buNone/>
              <a:defRPr sz="494"/>
            </a:lvl2pPr>
            <a:lvl3pPr marL="225802" indent="0" algn="ctr">
              <a:buNone/>
              <a:defRPr sz="444"/>
            </a:lvl3pPr>
            <a:lvl4pPr marL="338702" indent="0" algn="ctr">
              <a:buNone/>
              <a:defRPr sz="395"/>
            </a:lvl4pPr>
            <a:lvl5pPr marL="451603" indent="0" algn="ctr">
              <a:buNone/>
              <a:defRPr sz="395"/>
            </a:lvl5pPr>
            <a:lvl6pPr marL="564504" indent="0" algn="ctr">
              <a:buNone/>
              <a:defRPr sz="395"/>
            </a:lvl6pPr>
            <a:lvl7pPr marL="677404" indent="0" algn="ctr">
              <a:buNone/>
              <a:defRPr sz="395"/>
            </a:lvl7pPr>
            <a:lvl8pPr marL="790305" indent="0" algn="ctr">
              <a:buNone/>
              <a:defRPr sz="395"/>
            </a:lvl8pPr>
            <a:lvl9pPr marL="903206" indent="0" algn="ctr">
              <a:buNone/>
              <a:defRPr sz="395"/>
            </a:lvl9pPr>
          </a:lstStyle>
          <a:p>
            <a:r>
              <a:rPr lang="en-US"/>
              <a:t>Click to edit Master subtitle style</a:t>
            </a:r>
          </a:p>
        </p:txBody>
      </p:sp>
      <p:sp>
        <p:nvSpPr>
          <p:cNvPr id="4" name="Date Placeholder 3">
            <a:extLst>
              <a:ext uri="{FF2B5EF4-FFF2-40B4-BE49-F238E27FC236}">
                <a16:creationId xmlns:a16="http://schemas.microsoft.com/office/drawing/2014/main" id="{97D4E29D-3BEB-44FE-BF66-114B54B8DE5E}"/>
              </a:ext>
            </a:extLst>
          </p:cNvPr>
          <p:cNvSpPr>
            <a:spLocks noGrp="1"/>
          </p:cNvSpPr>
          <p:nvPr>
            <p:ph type="dt" sz="half" idx="10"/>
          </p:nvPr>
        </p:nvSpPr>
        <p:spPr>
          <a:xfrm>
            <a:off x="838200" y="6356237"/>
            <a:ext cx="2743200" cy="365125"/>
          </a:xfrm>
          <a:prstGeom prst="rect">
            <a:avLst/>
          </a:prstGeom>
        </p:spPr>
        <p:txBody>
          <a:bodyPr vert="horz" wrap="square" lIns="91440" tIns="45720" rIns="91440" bIns="45720" numCol="1" anchor="t" anchorCtr="0" compatLnSpc="1">
            <a:prstTxWarp prst="textNoShape">
              <a:avLst/>
            </a:prstTxWarp>
          </a:bodyPr>
          <a:lstStyle>
            <a:lvl1pPr>
              <a:defRPr>
                <a:latin typeface="Times" panose="02020603050405020304" pitchFamily="18" charset="0"/>
                <a:ea typeface="MS PGothic" panose="020B0600070205080204" pitchFamily="34" charset="-128"/>
              </a:defRPr>
            </a:lvl1pPr>
          </a:lstStyle>
          <a:p>
            <a:pPr>
              <a:defRPr/>
            </a:pPr>
            <a:fld id="{B9BC7BF9-BA44-475A-9C2E-385F5646E0B5}" type="datetimeFigureOut">
              <a:rPr lang="en-US" altLang="en-US"/>
              <a:pPr>
                <a:defRPr/>
              </a:pPr>
              <a:t>8/21/2023</a:t>
            </a:fld>
            <a:endParaRPr lang="en-US" altLang="en-US"/>
          </a:p>
        </p:txBody>
      </p:sp>
      <p:sp>
        <p:nvSpPr>
          <p:cNvPr id="5" name="Footer Placeholder 4">
            <a:extLst>
              <a:ext uri="{FF2B5EF4-FFF2-40B4-BE49-F238E27FC236}">
                <a16:creationId xmlns:a16="http://schemas.microsoft.com/office/drawing/2014/main" id="{E60F717D-30B1-45B3-8469-818B9CB5AC88}"/>
              </a:ext>
            </a:extLst>
          </p:cNvPr>
          <p:cNvSpPr>
            <a:spLocks noGrp="1"/>
          </p:cNvSpPr>
          <p:nvPr>
            <p:ph type="ftr" sz="quarter" idx="11"/>
          </p:nvPr>
        </p:nvSpPr>
        <p:spPr>
          <a:xfrm>
            <a:off x="4038600" y="6356237"/>
            <a:ext cx="4114800" cy="365125"/>
          </a:xfrm>
          <a:prstGeom prst="rect">
            <a:avLst/>
          </a:prstGeom>
        </p:spPr>
        <p:txBody>
          <a:bodyPr/>
          <a:lstStyle>
            <a:lvl1pPr>
              <a:defRPr>
                <a:latin typeface="Times" panose="02020603050405020304" pitchFamily="18" charset="0"/>
                <a:ea typeface="+mn-ea"/>
                <a:cs typeface="+mn-cs"/>
              </a:defRPr>
            </a:lvl1pPr>
          </a:lstStyle>
          <a:p>
            <a:pPr>
              <a:defRPr/>
            </a:pPr>
            <a:endParaRPr lang="en-US"/>
          </a:p>
        </p:txBody>
      </p:sp>
      <p:sp>
        <p:nvSpPr>
          <p:cNvPr id="6" name="Slide Number Placeholder 5">
            <a:extLst>
              <a:ext uri="{FF2B5EF4-FFF2-40B4-BE49-F238E27FC236}">
                <a16:creationId xmlns:a16="http://schemas.microsoft.com/office/drawing/2014/main" id="{CDFAED35-BC90-4504-B30F-7833F321FDB6}"/>
              </a:ext>
            </a:extLst>
          </p:cNvPr>
          <p:cNvSpPr>
            <a:spLocks noGrp="1"/>
          </p:cNvSpPr>
          <p:nvPr>
            <p:ph type="sldNum" sz="quarter" idx="12"/>
          </p:nvPr>
        </p:nvSpPr>
        <p:spPr>
          <a:xfrm>
            <a:off x="8610600" y="6356237"/>
            <a:ext cx="2743200" cy="365125"/>
          </a:xfrm>
          <a:prstGeom prst="rect">
            <a:avLst/>
          </a:prstGeom>
        </p:spPr>
        <p:txBody>
          <a:bodyPr vert="horz" wrap="square" lIns="91440" tIns="45720" rIns="91440" bIns="45720" numCol="1" anchor="t" anchorCtr="0" compatLnSpc="1">
            <a:prstTxWarp prst="textNoShape">
              <a:avLst/>
            </a:prstTxWarp>
          </a:bodyPr>
          <a:lstStyle>
            <a:lvl1pPr>
              <a:defRPr>
                <a:latin typeface="Times" panose="02020603050405020304" pitchFamily="18" charset="0"/>
                <a:ea typeface="MS PGothic" panose="020B0600070205080204" pitchFamily="34" charset="-128"/>
              </a:defRPr>
            </a:lvl1pPr>
          </a:lstStyle>
          <a:p>
            <a:pPr>
              <a:defRPr/>
            </a:pPr>
            <a:fld id="{209A4505-C000-4CD1-BB05-676936719567}" type="slidenum">
              <a:rPr lang="en-US" altLang="en-US"/>
              <a:pPr>
                <a:defRPr/>
              </a:pPr>
              <a:t>‹#›</a:t>
            </a:fld>
            <a:endParaRPr lang="en-US" altLang="en-US"/>
          </a:p>
        </p:txBody>
      </p:sp>
    </p:spTree>
    <p:extLst>
      <p:ext uri="{BB962C8B-B14F-4D97-AF65-F5344CB8AC3E}">
        <p14:creationId xmlns:p14="http://schemas.microsoft.com/office/powerpoint/2010/main" val="5230352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838200" y="1825626"/>
            <a:ext cx="10515600" cy="435145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0057F74-7C56-498F-9447-BDDF4EB9D05A}"/>
              </a:ext>
            </a:extLst>
          </p:cNvPr>
          <p:cNvSpPr>
            <a:spLocks noGrp="1"/>
          </p:cNvSpPr>
          <p:nvPr>
            <p:ph type="dt" sz="half" idx="10"/>
          </p:nvPr>
        </p:nvSpPr>
        <p:spPr>
          <a:xfrm>
            <a:off x="838200" y="6356237"/>
            <a:ext cx="2743200" cy="365125"/>
          </a:xfrm>
          <a:prstGeom prst="rect">
            <a:avLst/>
          </a:prstGeom>
        </p:spPr>
        <p:txBody>
          <a:bodyPr vert="horz" wrap="square" lIns="91440" tIns="45720" rIns="91440" bIns="45720" numCol="1" anchor="t" anchorCtr="0" compatLnSpc="1">
            <a:prstTxWarp prst="textNoShape">
              <a:avLst/>
            </a:prstTxWarp>
          </a:bodyPr>
          <a:lstStyle>
            <a:lvl1pPr>
              <a:defRPr>
                <a:latin typeface="Times" panose="02020603050405020304" pitchFamily="18" charset="0"/>
                <a:ea typeface="MS PGothic" panose="020B0600070205080204" pitchFamily="34" charset="-128"/>
              </a:defRPr>
            </a:lvl1pPr>
          </a:lstStyle>
          <a:p>
            <a:pPr>
              <a:defRPr/>
            </a:pPr>
            <a:fld id="{A8B96F03-294E-465A-B492-A3C0973DDD6F}" type="datetimeFigureOut">
              <a:rPr lang="en-US" altLang="en-US"/>
              <a:pPr>
                <a:defRPr/>
              </a:pPr>
              <a:t>8/21/2023</a:t>
            </a:fld>
            <a:endParaRPr lang="en-US" altLang="en-US"/>
          </a:p>
        </p:txBody>
      </p:sp>
      <p:sp>
        <p:nvSpPr>
          <p:cNvPr id="5" name="Footer Placeholder 4">
            <a:extLst>
              <a:ext uri="{FF2B5EF4-FFF2-40B4-BE49-F238E27FC236}">
                <a16:creationId xmlns:a16="http://schemas.microsoft.com/office/drawing/2014/main" id="{835815E4-C1CA-42B9-ABAB-8548A4177846}"/>
              </a:ext>
            </a:extLst>
          </p:cNvPr>
          <p:cNvSpPr>
            <a:spLocks noGrp="1"/>
          </p:cNvSpPr>
          <p:nvPr>
            <p:ph type="ftr" sz="quarter" idx="11"/>
          </p:nvPr>
        </p:nvSpPr>
        <p:spPr>
          <a:xfrm>
            <a:off x="4038600" y="6356237"/>
            <a:ext cx="4114800" cy="365125"/>
          </a:xfrm>
          <a:prstGeom prst="rect">
            <a:avLst/>
          </a:prstGeom>
        </p:spPr>
        <p:txBody>
          <a:bodyPr/>
          <a:lstStyle>
            <a:lvl1pPr>
              <a:defRPr>
                <a:latin typeface="Times" panose="02020603050405020304" pitchFamily="18" charset="0"/>
                <a:ea typeface="+mn-ea"/>
                <a:cs typeface="+mn-cs"/>
              </a:defRPr>
            </a:lvl1pPr>
          </a:lstStyle>
          <a:p>
            <a:pPr>
              <a:defRPr/>
            </a:pPr>
            <a:endParaRPr lang="en-US"/>
          </a:p>
        </p:txBody>
      </p:sp>
      <p:sp>
        <p:nvSpPr>
          <p:cNvPr id="6" name="Slide Number Placeholder 5">
            <a:extLst>
              <a:ext uri="{FF2B5EF4-FFF2-40B4-BE49-F238E27FC236}">
                <a16:creationId xmlns:a16="http://schemas.microsoft.com/office/drawing/2014/main" id="{0B027394-1267-438A-9277-8445BD3F8554}"/>
              </a:ext>
            </a:extLst>
          </p:cNvPr>
          <p:cNvSpPr>
            <a:spLocks noGrp="1"/>
          </p:cNvSpPr>
          <p:nvPr>
            <p:ph type="sldNum" sz="quarter" idx="12"/>
          </p:nvPr>
        </p:nvSpPr>
        <p:spPr>
          <a:xfrm>
            <a:off x="8610600" y="6356237"/>
            <a:ext cx="2743200" cy="365125"/>
          </a:xfrm>
          <a:prstGeom prst="rect">
            <a:avLst/>
          </a:prstGeom>
        </p:spPr>
        <p:txBody>
          <a:bodyPr vert="horz" wrap="square" lIns="91440" tIns="45720" rIns="91440" bIns="45720" numCol="1" anchor="t" anchorCtr="0" compatLnSpc="1">
            <a:prstTxWarp prst="textNoShape">
              <a:avLst/>
            </a:prstTxWarp>
          </a:bodyPr>
          <a:lstStyle>
            <a:lvl1pPr>
              <a:defRPr>
                <a:latin typeface="Times" panose="02020603050405020304" pitchFamily="18" charset="0"/>
                <a:ea typeface="MS PGothic" panose="020B0600070205080204" pitchFamily="34" charset="-128"/>
              </a:defRPr>
            </a:lvl1pPr>
          </a:lstStyle>
          <a:p>
            <a:pPr>
              <a:defRPr/>
            </a:pPr>
            <a:fld id="{3D14B09D-A8EE-4418-8F91-FA9C4EDEEA9D}" type="slidenum">
              <a:rPr lang="en-US" altLang="en-US"/>
              <a:pPr>
                <a:defRPr/>
              </a:pPr>
              <a:t>‹#›</a:t>
            </a:fld>
            <a:endParaRPr lang="en-US" altLang="en-US"/>
          </a:p>
        </p:txBody>
      </p:sp>
    </p:spTree>
    <p:extLst>
      <p:ext uri="{BB962C8B-B14F-4D97-AF65-F5344CB8AC3E}">
        <p14:creationId xmlns:p14="http://schemas.microsoft.com/office/powerpoint/2010/main" val="711180502"/>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964"/>
            <a:ext cx="10515600" cy="2852398"/>
          </a:xfrm>
          <a:prstGeom prst="rect">
            <a:avLst/>
          </a:prstGeom>
        </p:spPr>
        <p:txBody>
          <a:bodyPr anchor="b"/>
          <a:lstStyle>
            <a:lvl1pPr>
              <a:defRPr sz="1482"/>
            </a:lvl1pPr>
          </a:lstStyle>
          <a:p>
            <a:r>
              <a:rPr lang="en-US"/>
              <a:t>Click to edit Master title style</a:t>
            </a:r>
          </a:p>
        </p:txBody>
      </p:sp>
      <p:sp>
        <p:nvSpPr>
          <p:cNvPr id="3" name="Text Placeholder 2"/>
          <p:cNvSpPr>
            <a:spLocks noGrp="1"/>
          </p:cNvSpPr>
          <p:nvPr>
            <p:ph type="body" idx="1"/>
          </p:nvPr>
        </p:nvSpPr>
        <p:spPr>
          <a:xfrm>
            <a:off x="831850" y="4589576"/>
            <a:ext cx="10515600" cy="1500188"/>
          </a:xfrm>
          <a:prstGeom prst="rect">
            <a:avLst/>
          </a:prstGeom>
        </p:spPr>
        <p:txBody>
          <a:bodyPr/>
          <a:lstStyle>
            <a:lvl1pPr marL="0" indent="0">
              <a:buNone/>
              <a:defRPr sz="593">
                <a:solidFill>
                  <a:schemeClr val="tx1">
                    <a:tint val="75000"/>
                  </a:schemeClr>
                </a:solidFill>
              </a:defRPr>
            </a:lvl1pPr>
            <a:lvl2pPr marL="112901" indent="0">
              <a:buNone/>
              <a:defRPr sz="494">
                <a:solidFill>
                  <a:schemeClr val="tx1">
                    <a:tint val="75000"/>
                  </a:schemeClr>
                </a:solidFill>
              </a:defRPr>
            </a:lvl2pPr>
            <a:lvl3pPr marL="225802" indent="0">
              <a:buNone/>
              <a:defRPr sz="444">
                <a:solidFill>
                  <a:schemeClr val="tx1">
                    <a:tint val="75000"/>
                  </a:schemeClr>
                </a:solidFill>
              </a:defRPr>
            </a:lvl3pPr>
            <a:lvl4pPr marL="338702" indent="0">
              <a:buNone/>
              <a:defRPr sz="395">
                <a:solidFill>
                  <a:schemeClr val="tx1">
                    <a:tint val="75000"/>
                  </a:schemeClr>
                </a:solidFill>
              </a:defRPr>
            </a:lvl4pPr>
            <a:lvl5pPr marL="451603" indent="0">
              <a:buNone/>
              <a:defRPr sz="395">
                <a:solidFill>
                  <a:schemeClr val="tx1">
                    <a:tint val="75000"/>
                  </a:schemeClr>
                </a:solidFill>
              </a:defRPr>
            </a:lvl5pPr>
            <a:lvl6pPr marL="564504" indent="0">
              <a:buNone/>
              <a:defRPr sz="395">
                <a:solidFill>
                  <a:schemeClr val="tx1">
                    <a:tint val="75000"/>
                  </a:schemeClr>
                </a:solidFill>
              </a:defRPr>
            </a:lvl6pPr>
            <a:lvl7pPr marL="677404" indent="0">
              <a:buNone/>
              <a:defRPr sz="395">
                <a:solidFill>
                  <a:schemeClr val="tx1">
                    <a:tint val="75000"/>
                  </a:schemeClr>
                </a:solidFill>
              </a:defRPr>
            </a:lvl7pPr>
            <a:lvl8pPr marL="790305" indent="0">
              <a:buNone/>
              <a:defRPr sz="395">
                <a:solidFill>
                  <a:schemeClr val="tx1">
                    <a:tint val="75000"/>
                  </a:schemeClr>
                </a:solidFill>
              </a:defRPr>
            </a:lvl8pPr>
            <a:lvl9pPr marL="903206" indent="0">
              <a:buNone/>
              <a:defRPr sz="395">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9FC6390-C7FC-4A92-9F09-793085A486EA}"/>
              </a:ext>
            </a:extLst>
          </p:cNvPr>
          <p:cNvSpPr>
            <a:spLocks noGrp="1"/>
          </p:cNvSpPr>
          <p:nvPr>
            <p:ph type="dt" sz="half" idx="10"/>
          </p:nvPr>
        </p:nvSpPr>
        <p:spPr>
          <a:xfrm>
            <a:off x="838200" y="6356237"/>
            <a:ext cx="2743200" cy="365125"/>
          </a:xfrm>
          <a:prstGeom prst="rect">
            <a:avLst/>
          </a:prstGeom>
        </p:spPr>
        <p:txBody>
          <a:bodyPr vert="horz" wrap="square" lIns="91440" tIns="45720" rIns="91440" bIns="45720" numCol="1" anchor="t" anchorCtr="0" compatLnSpc="1">
            <a:prstTxWarp prst="textNoShape">
              <a:avLst/>
            </a:prstTxWarp>
          </a:bodyPr>
          <a:lstStyle>
            <a:lvl1pPr>
              <a:defRPr>
                <a:latin typeface="Times" panose="02020603050405020304" pitchFamily="18" charset="0"/>
                <a:ea typeface="MS PGothic" panose="020B0600070205080204" pitchFamily="34" charset="-128"/>
              </a:defRPr>
            </a:lvl1pPr>
          </a:lstStyle>
          <a:p>
            <a:pPr>
              <a:defRPr/>
            </a:pPr>
            <a:fld id="{ED9BCF3D-B371-402B-A365-52BC801F9D07}" type="datetimeFigureOut">
              <a:rPr lang="en-US" altLang="en-US"/>
              <a:pPr>
                <a:defRPr/>
              </a:pPr>
              <a:t>8/21/2023</a:t>
            </a:fld>
            <a:endParaRPr lang="en-US" altLang="en-US"/>
          </a:p>
        </p:txBody>
      </p:sp>
      <p:sp>
        <p:nvSpPr>
          <p:cNvPr id="5" name="Footer Placeholder 4">
            <a:extLst>
              <a:ext uri="{FF2B5EF4-FFF2-40B4-BE49-F238E27FC236}">
                <a16:creationId xmlns:a16="http://schemas.microsoft.com/office/drawing/2014/main" id="{45288401-E06B-49AE-9E83-A39F15FF0DBD}"/>
              </a:ext>
            </a:extLst>
          </p:cNvPr>
          <p:cNvSpPr>
            <a:spLocks noGrp="1"/>
          </p:cNvSpPr>
          <p:nvPr>
            <p:ph type="ftr" sz="quarter" idx="11"/>
          </p:nvPr>
        </p:nvSpPr>
        <p:spPr>
          <a:xfrm>
            <a:off x="4038600" y="6356237"/>
            <a:ext cx="4114800" cy="365125"/>
          </a:xfrm>
          <a:prstGeom prst="rect">
            <a:avLst/>
          </a:prstGeom>
        </p:spPr>
        <p:txBody>
          <a:bodyPr/>
          <a:lstStyle>
            <a:lvl1pPr>
              <a:defRPr>
                <a:latin typeface="Times" panose="02020603050405020304" pitchFamily="18" charset="0"/>
                <a:ea typeface="+mn-ea"/>
                <a:cs typeface="+mn-cs"/>
              </a:defRPr>
            </a:lvl1pPr>
          </a:lstStyle>
          <a:p>
            <a:pPr>
              <a:defRPr/>
            </a:pPr>
            <a:endParaRPr lang="en-US"/>
          </a:p>
        </p:txBody>
      </p:sp>
      <p:sp>
        <p:nvSpPr>
          <p:cNvPr id="6" name="Slide Number Placeholder 5">
            <a:extLst>
              <a:ext uri="{FF2B5EF4-FFF2-40B4-BE49-F238E27FC236}">
                <a16:creationId xmlns:a16="http://schemas.microsoft.com/office/drawing/2014/main" id="{1253ED4E-65FB-4919-BCD5-6166E603F0C4}"/>
              </a:ext>
            </a:extLst>
          </p:cNvPr>
          <p:cNvSpPr>
            <a:spLocks noGrp="1"/>
          </p:cNvSpPr>
          <p:nvPr>
            <p:ph type="sldNum" sz="quarter" idx="12"/>
          </p:nvPr>
        </p:nvSpPr>
        <p:spPr>
          <a:xfrm>
            <a:off x="8610600" y="6356237"/>
            <a:ext cx="2743200" cy="365125"/>
          </a:xfrm>
          <a:prstGeom prst="rect">
            <a:avLst/>
          </a:prstGeom>
        </p:spPr>
        <p:txBody>
          <a:bodyPr vert="horz" wrap="square" lIns="91440" tIns="45720" rIns="91440" bIns="45720" numCol="1" anchor="t" anchorCtr="0" compatLnSpc="1">
            <a:prstTxWarp prst="textNoShape">
              <a:avLst/>
            </a:prstTxWarp>
          </a:bodyPr>
          <a:lstStyle>
            <a:lvl1pPr>
              <a:defRPr>
                <a:latin typeface="Times" panose="02020603050405020304" pitchFamily="18" charset="0"/>
                <a:ea typeface="MS PGothic" panose="020B0600070205080204" pitchFamily="34" charset="-128"/>
              </a:defRPr>
            </a:lvl1pPr>
          </a:lstStyle>
          <a:p>
            <a:pPr>
              <a:defRPr/>
            </a:pPr>
            <a:fld id="{DFC1463C-FB6C-4908-AFCA-9EDA11CE1571}" type="slidenum">
              <a:rPr lang="en-US" altLang="en-US"/>
              <a:pPr>
                <a:defRPr/>
              </a:pPr>
              <a:t>‹#›</a:t>
            </a:fld>
            <a:endParaRPr lang="en-US" altLang="en-US"/>
          </a:p>
        </p:txBody>
      </p:sp>
    </p:spTree>
    <p:extLst>
      <p:ext uri="{BB962C8B-B14F-4D97-AF65-F5344CB8AC3E}">
        <p14:creationId xmlns:p14="http://schemas.microsoft.com/office/powerpoint/2010/main" val="1879625694"/>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6"/>
            <a:ext cx="5223933" cy="435145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29867" y="1825626"/>
            <a:ext cx="5223933" cy="435145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F970E0E-E3DA-4F8C-8B07-F7B42CA31172}"/>
              </a:ext>
            </a:extLst>
          </p:cNvPr>
          <p:cNvSpPr>
            <a:spLocks noGrp="1"/>
          </p:cNvSpPr>
          <p:nvPr>
            <p:ph type="dt" sz="half" idx="10"/>
          </p:nvPr>
        </p:nvSpPr>
        <p:spPr>
          <a:xfrm>
            <a:off x="838200" y="6356237"/>
            <a:ext cx="2743200" cy="365125"/>
          </a:xfrm>
          <a:prstGeom prst="rect">
            <a:avLst/>
          </a:prstGeom>
        </p:spPr>
        <p:txBody>
          <a:bodyPr vert="horz" wrap="square" lIns="91440" tIns="45720" rIns="91440" bIns="45720" numCol="1" anchor="t" anchorCtr="0" compatLnSpc="1">
            <a:prstTxWarp prst="textNoShape">
              <a:avLst/>
            </a:prstTxWarp>
          </a:bodyPr>
          <a:lstStyle>
            <a:lvl1pPr>
              <a:defRPr>
                <a:latin typeface="Times" panose="02020603050405020304" pitchFamily="18" charset="0"/>
                <a:ea typeface="MS PGothic" panose="020B0600070205080204" pitchFamily="34" charset="-128"/>
              </a:defRPr>
            </a:lvl1pPr>
          </a:lstStyle>
          <a:p>
            <a:pPr>
              <a:defRPr/>
            </a:pPr>
            <a:fld id="{135CACA7-E967-4350-9E18-4D2D2F72B046}" type="datetimeFigureOut">
              <a:rPr lang="en-US" altLang="en-US"/>
              <a:pPr>
                <a:defRPr/>
              </a:pPr>
              <a:t>8/21/2023</a:t>
            </a:fld>
            <a:endParaRPr lang="en-US" altLang="en-US"/>
          </a:p>
        </p:txBody>
      </p:sp>
      <p:sp>
        <p:nvSpPr>
          <p:cNvPr id="6" name="Footer Placeholder 5">
            <a:extLst>
              <a:ext uri="{FF2B5EF4-FFF2-40B4-BE49-F238E27FC236}">
                <a16:creationId xmlns:a16="http://schemas.microsoft.com/office/drawing/2014/main" id="{C5F9DB4A-0A83-434D-A4DD-0472CB6B9E1B}"/>
              </a:ext>
            </a:extLst>
          </p:cNvPr>
          <p:cNvSpPr>
            <a:spLocks noGrp="1"/>
          </p:cNvSpPr>
          <p:nvPr>
            <p:ph type="ftr" sz="quarter" idx="11"/>
          </p:nvPr>
        </p:nvSpPr>
        <p:spPr>
          <a:xfrm>
            <a:off x="4038600" y="6356237"/>
            <a:ext cx="4114800" cy="365125"/>
          </a:xfrm>
          <a:prstGeom prst="rect">
            <a:avLst/>
          </a:prstGeom>
        </p:spPr>
        <p:txBody>
          <a:bodyPr/>
          <a:lstStyle>
            <a:lvl1pPr>
              <a:defRPr>
                <a:latin typeface="Times" panose="02020603050405020304" pitchFamily="18" charset="0"/>
                <a:ea typeface="+mn-ea"/>
                <a:cs typeface="+mn-cs"/>
              </a:defRPr>
            </a:lvl1pPr>
          </a:lstStyle>
          <a:p>
            <a:pPr>
              <a:defRPr/>
            </a:pPr>
            <a:endParaRPr lang="en-US"/>
          </a:p>
        </p:txBody>
      </p:sp>
      <p:sp>
        <p:nvSpPr>
          <p:cNvPr id="7" name="Slide Number Placeholder 6">
            <a:extLst>
              <a:ext uri="{FF2B5EF4-FFF2-40B4-BE49-F238E27FC236}">
                <a16:creationId xmlns:a16="http://schemas.microsoft.com/office/drawing/2014/main" id="{0E79F2B2-97C0-4168-929F-77A8971AE5B3}"/>
              </a:ext>
            </a:extLst>
          </p:cNvPr>
          <p:cNvSpPr>
            <a:spLocks noGrp="1"/>
          </p:cNvSpPr>
          <p:nvPr>
            <p:ph type="sldNum" sz="quarter" idx="12"/>
          </p:nvPr>
        </p:nvSpPr>
        <p:spPr>
          <a:xfrm>
            <a:off x="8610600" y="6356237"/>
            <a:ext cx="2743200" cy="365125"/>
          </a:xfrm>
          <a:prstGeom prst="rect">
            <a:avLst/>
          </a:prstGeom>
        </p:spPr>
        <p:txBody>
          <a:bodyPr vert="horz" wrap="square" lIns="91440" tIns="45720" rIns="91440" bIns="45720" numCol="1" anchor="t" anchorCtr="0" compatLnSpc="1">
            <a:prstTxWarp prst="textNoShape">
              <a:avLst/>
            </a:prstTxWarp>
          </a:bodyPr>
          <a:lstStyle>
            <a:lvl1pPr>
              <a:defRPr>
                <a:latin typeface="Times" panose="02020603050405020304" pitchFamily="18" charset="0"/>
                <a:ea typeface="MS PGothic" panose="020B0600070205080204" pitchFamily="34" charset="-128"/>
              </a:defRPr>
            </a:lvl1pPr>
          </a:lstStyle>
          <a:p>
            <a:pPr>
              <a:defRPr/>
            </a:pPr>
            <a:fld id="{BBD7FF9E-D3DD-4373-8843-8646A28D0054}" type="slidenum">
              <a:rPr lang="en-US" altLang="en-US"/>
              <a:pPr>
                <a:defRPr/>
              </a:pPr>
              <a:t>‹#›</a:t>
            </a:fld>
            <a:endParaRPr lang="en-US" altLang="en-US"/>
          </a:p>
        </p:txBody>
      </p:sp>
    </p:spTree>
    <p:extLst>
      <p:ext uri="{BB962C8B-B14F-4D97-AF65-F5344CB8AC3E}">
        <p14:creationId xmlns:p14="http://schemas.microsoft.com/office/powerpoint/2010/main" val="3893414308"/>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611" y="365125"/>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613" y="1681051"/>
            <a:ext cx="5158317" cy="823799"/>
          </a:xfrm>
          <a:prstGeom prst="rect">
            <a:avLst/>
          </a:prstGeom>
        </p:spPr>
        <p:txBody>
          <a:bodyPr anchor="b"/>
          <a:lstStyle>
            <a:lvl1pPr marL="0" indent="0">
              <a:buNone/>
              <a:defRPr sz="593" b="1"/>
            </a:lvl1pPr>
            <a:lvl2pPr marL="112901" indent="0">
              <a:buNone/>
              <a:defRPr sz="494" b="1"/>
            </a:lvl2pPr>
            <a:lvl3pPr marL="225802" indent="0">
              <a:buNone/>
              <a:defRPr sz="444" b="1"/>
            </a:lvl3pPr>
            <a:lvl4pPr marL="338702" indent="0">
              <a:buNone/>
              <a:defRPr sz="395" b="1"/>
            </a:lvl4pPr>
            <a:lvl5pPr marL="451603" indent="0">
              <a:buNone/>
              <a:defRPr sz="395" b="1"/>
            </a:lvl5pPr>
            <a:lvl6pPr marL="564504" indent="0">
              <a:buNone/>
              <a:defRPr sz="395" b="1"/>
            </a:lvl6pPr>
            <a:lvl7pPr marL="677404" indent="0">
              <a:buNone/>
              <a:defRPr sz="395" b="1"/>
            </a:lvl7pPr>
            <a:lvl8pPr marL="790305" indent="0">
              <a:buNone/>
              <a:defRPr sz="395" b="1"/>
            </a:lvl8pPr>
            <a:lvl9pPr marL="903206" indent="0">
              <a:buNone/>
              <a:defRPr sz="395" b="1"/>
            </a:lvl9pPr>
          </a:lstStyle>
          <a:p>
            <a:pPr lvl="0"/>
            <a:r>
              <a:rPr lang="en-US"/>
              <a:t>Click to edit Master text styles</a:t>
            </a:r>
          </a:p>
        </p:txBody>
      </p:sp>
      <p:sp>
        <p:nvSpPr>
          <p:cNvPr id="4" name="Content Placeholder 3"/>
          <p:cNvSpPr>
            <a:spLocks noGrp="1"/>
          </p:cNvSpPr>
          <p:nvPr>
            <p:ph sz="half" idx="2"/>
          </p:nvPr>
        </p:nvSpPr>
        <p:spPr>
          <a:xfrm>
            <a:off x="839613" y="2504850"/>
            <a:ext cx="5158317" cy="368470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051"/>
            <a:ext cx="5183011" cy="823799"/>
          </a:xfrm>
          <a:prstGeom prst="rect">
            <a:avLst/>
          </a:prstGeom>
        </p:spPr>
        <p:txBody>
          <a:bodyPr anchor="b"/>
          <a:lstStyle>
            <a:lvl1pPr marL="0" indent="0">
              <a:buNone/>
              <a:defRPr sz="593" b="1"/>
            </a:lvl1pPr>
            <a:lvl2pPr marL="112901" indent="0">
              <a:buNone/>
              <a:defRPr sz="494" b="1"/>
            </a:lvl2pPr>
            <a:lvl3pPr marL="225802" indent="0">
              <a:buNone/>
              <a:defRPr sz="444" b="1"/>
            </a:lvl3pPr>
            <a:lvl4pPr marL="338702" indent="0">
              <a:buNone/>
              <a:defRPr sz="395" b="1"/>
            </a:lvl4pPr>
            <a:lvl5pPr marL="451603" indent="0">
              <a:buNone/>
              <a:defRPr sz="395" b="1"/>
            </a:lvl5pPr>
            <a:lvl6pPr marL="564504" indent="0">
              <a:buNone/>
              <a:defRPr sz="395" b="1"/>
            </a:lvl6pPr>
            <a:lvl7pPr marL="677404" indent="0">
              <a:buNone/>
              <a:defRPr sz="395" b="1"/>
            </a:lvl7pPr>
            <a:lvl8pPr marL="790305" indent="0">
              <a:buNone/>
              <a:defRPr sz="395" b="1"/>
            </a:lvl8pPr>
            <a:lvl9pPr marL="903206" indent="0">
              <a:buNone/>
              <a:defRPr sz="395" b="1"/>
            </a:lvl9pPr>
          </a:lstStyle>
          <a:p>
            <a:pPr lvl="0"/>
            <a:r>
              <a:rPr lang="en-US"/>
              <a:t>Click to edit Master text styles</a:t>
            </a:r>
          </a:p>
        </p:txBody>
      </p:sp>
      <p:sp>
        <p:nvSpPr>
          <p:cNvPr id="6" name="Content Placeholder 5"/>
          <p:cNvSpPr>
            <a:spLocks noGrp="1"/>
          </p:cNvSpPr>
          <p:nvPr>
            <p:ph sz="quarter" idx="4"/>
          </p:nvPr>
        </p:nvSpPr>
        <p:spPr>
          <a:xfrm>
            <a:off x="6172200" y="2504850"/>
            <a:ext cx="5183011" cy="368470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99D5CCA-2317-4E90-8E41-FBD820CF9222}"/>
              </a:ext>
            </a:extLst>
          </p:cNvPr>
          <p:cNvSpPr>
            <a:spLocks noGrp="1"/>
          </p:cNvSpPr>
          <p:nvPr>
            <p:ph type="dt" sz="half" idx="10"/>
          </p:nvPr>
        </p:nvSpPr>
        <p:spPr>
          <a:xfrm>
            <a:off x="838200" y="6356237"/>
            <a:ext cx="2743200" cy="365125"/>
          </a:xfrm>
          <a:prstGeom prst="rect">
            <a:avLst/>
          </a:prstGeom>
        </p:spPr>
        <p:txBody>
          <a:bodyPr vert="horz" wrap="square" lIns="91440" tIns="45720" rIns="91440" bIns="45720" numCol="1" anchor="t" anchorCtr="0" compatLnSpc="1">
            <a:prstTxWarp prst="textNoShape">
              <a:avLst/>
            </a:prstTxWarp>
          </a:bodyPr>
          <a:lstStyle>
            <a:lvl1pPr>
              <a:defRPr>
                <a:latin typeface="Times" panose="02020603050405020304" pitchFamily="18" charset="0"/>
                <a:ea typeface="MS PGothic" panose="020B0600070205080204" pitchFamily="34" charset="-128"/>
              </a:defRPr>
            </a:lvl1pPr>
          </a:lstStyle>
          <a:p>
            <a:pPr>
              <a:defRPr/>
            </a:pPr>
            <a:fld id="{43F0ADC5-EC6D-4265-B760-E97E641EB32E}" type="datetimeFigureOut">
              <a:rPr lang="en-US" altLang="en-US"/>
              <a:pPr>
                <a:defRPr/>
              </a:pPr>
              <a:t>8/21/2023</a:t>
            </a:fld>
            <a:endParaRPr lang="en-US" altLang="en-US"/>
          </a:p>
        </p:txBody>
      </p:sp>
      <p:sp>
        <p:nvSpPr>
          <p:cNvPr id="8" name="Footer Placeholder 7">
            <a:extLst>
              <a:ext uri="{FF2B5EF4-FFF2-40B4-BE49-F238E27FC236}">
                <a16:creationId xmlns:a16="http://schemas.microsoft.com/office/drawing/2014/main" id="{97EB73DE-5733-4E19-A965-46D4081CA213}"/>
              </a:ext>
            </a:extLst>
          </p:cNvPr>
          <p:cNvSpPr>
            <a:spLocks noGrp="1"/>
          </p:cNvSpPr>
          <p:nvPr>
            <p:ph type="ftr" sz="quarter" idx="11"/>
          </p:nvPr>
        </p:nvSpPr>
        <p:spPr>
          <a:xfrm>
            <a:off x="4038600" y="6356237"/>
            <a:ext cx="4114800" cy="365125"/>
          </a:xfrm>
          <a:prstGeom prst="rect">
            <a:avLst/>
          </a:prstGeom>
        </p:spPr>
        <p:txBody>
          <a:bodyPr/>
          <a:lstStyle>
            <a:lvl1pPr>
              <a:defRPr>
                <a:latin typeface="Times" panose="02020603050405020304" pitchFamily="18" charset="0"/>
                <a:ea typeface="+mn-ea"/>
                <a:cs typeface="+mn-cs"/>
              </a:defRPr>
            </a:lvl1pPr>
          </a:lstStyle>
          <a:p>
            <a:pPr>
              <a:defRPr/>
            </a:pPr>
            <a:endParaRPr lang="en-US"/>
          </a:p>
        </p:txBody>
      </p:sp>
      <p:sp>
        <p:nvSpPr>
          <p:cNvPr id="9" name="Slide Number Placeholder 8">
            <a:extLst>
              <a:ext uri="{FF2B5EF4-FFF2-40B4-BE49-F238E27FC236}">
                <a16:creationId xmlns:a16="http://schemas.microsoft.com/office/drawing/2014/main" id="{97794AA9-A2F8-4C3E-8646-C484D3396B11}"/>
              </a:ext>
            </a:extLst>
          </p:cNvPr>
          <p:cNvSpPr>
            <a:spLocks noGrp="1"/>
          </p:cNvSpPr>
          <p:nvPr>
            <p:ph type="sldNum" sz="quarter" idx="12"/>
          </p:nvPr>
        </p:nvSpPr>
        <p:spPr>
          <a:xfrm>
            <a:off x="8610600" y="6356237"/>
            <a:ext cx="2743200" cy="365125"/>
          </a:xfrm>
          <a:prstGeom prst="rect">
            <a:avLst/>
          </a:prstGeom>
        </p:spPr>
        <p:txBody>
          <a:bodyPr vert="horz" wrap="square" lIns="91440" tIns="45720" rIns="91440" bIns="45720" numCol="1" anchor="t" anchorCtr="0" compatLnSpc="1">
            <a:prstTxWarp prst="textNoShape">
              <a:avLst/>
            </a:prstTxWarp>
          </a:bodyPr>
          <a:lstStyle>
            <a:lvl1pPr>
              <a:defRPr>
                <a:latin typeface="Times" panose="02020603050405020304" pitchFamily="18" charset="0"/>
                <a:ea typeface="MS PGothic" panose="020B0600070205080204" pitchFamily="34" charset="-128"/>
              </a:defRPr>
            </a:lvl1pPr>
          </a:lstStyle>
          <a:p>
            <a:pPr>
              <a:defRPr/>
            </a:pPr>
            <a:fld id="{2C670993-E500-449B-A040-3DF411D74522}" type="slidenum">
              <a:rPr lang="en-US" altLang="en-US"/>
              <a:pPr>
                <a:defRPr/>
              </a:pPr>
              <a:t>‹#›</a:t>
            </a:fld>
            <a:endParaRPr lang="en-US" altLang="en-US"/>
          </a:p>
        </p:txBody>
      </p:sp>
    </p:spTree>
    <p:extLst>
      <p:ext uri="{BB962C8B-B14F-4D97-AF65-F5344CB8AC3E}">
        <p14:creationId xmlns:p14="http://schemas.microsoft.com/office/powerpoint/2010/main" val="4141189248"/>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Date Placeholder 2">
            <a:extLst>
              <a:ext uri="{FF2B5EF4-FFF2-40B4-BE49-F238E27FC236}">
                <a16:creationId xmlns:a16="http://schemas.microsoft.com/office/drawing/2014/main" id="{512979F7-A862-42B6-8840-DCE08936D045}"/>
              </a:ext>
            </a:extLst>
          </p:cNvPr>
          <p:cNvSpPr>
            <a:spLocks noGrp="1"/>
          </p:cNvSpPr>
          <p:nvPr>
            <p:ph type="dt" sz="half" idx="10"/>
          </p:nvPr>
        </p:nvSpPr>
        <p:spPr>
          <a:xfrm>
            <a:off x="838200" y="6356237"/>
            <a:ext cx="2743200" cy="365125"/>
          </a:xfrm>
          <a:prstGeom prst="rect">
            <a:avLst/>
          </a:prstGeom>
        </p:spPr>
        <p:txBody>
          <a:bodyPr vert="horz" wrap="square" lIns="91440" tIns="45720" rIns="91440" bIns="45720" numCol="1" anchor="t" anchorCtr="0" compatLnSpc="1">
            <a:prstTxWarp prst="textNoShape">
              <a:avLst/>
            </a:prstTxWarp>
          </a:bodyPr>
          <a:lstStyle>
            <a:lvl1pPr>
              <a:defRPr>
                <a:latin typeface="Times" panose="02020603050405020304" pitchFamily="18" charset="0"/>
                <a:ea typeface="MS PGothic" panose="020B0600070205080204" pitchFamily="34" charset="-128"/>
              </a:defRPr>
            </a:lvl1pPr>
          </a:lstStyle>
          <a:p>
            <a:pPr>
              <a:defRPr/>
            </a:pPr>
            <a:fld id="{B71A0430-32D7-4B6F-B614-238C6E09826B}" type="datetimeFigureOut">
              <a:rPr lang="en-US" altLang="en-US"/>
              <a:pPr>
                <a:defRPr/>
              </a:pPr>
              <a:t>8/21/2023</a:t>
            </a:fld>
            <a:endParaRPr lang="en-US" altLang="en-US"/>
          </a:p>
        </p:txBody>
      </p:sp>
      <p:sp>
        <p:nvSpPr>
          <p:cNvPr id="3" name="Footer Placeholder 3">
            <a:extLst>
              <a:ext uri="{FF2B5EF4-FFF2-40B4-BE49-F238E27FC236}">
                <a16:creationId xmlns:a16="http://schemas.microsoft.com/office/drawing/2014/main" id="{06C526DD-FD32-4896-ADC2-994FD6FD2F6F}"/>
              </a:ext>
            </a:extLst>
          </p:cNvPr>
          <p:cNvSpPr>
            <a:spLocks noGrp="1"/>
          </p:cNvSpPr>
          <p:nvPr>
            <p:ph type="ftr" sz="quarter" idx="11"/>
          </p:nvPr>
        </p:nvSpPr>
        <p:spPr>
          <a:xfrm>
            <a:off x="4038600" y="6356237"/>
            <a:ext cx="4114800" cy="365125"/>
          </a:xfrm>
          <a:prstGeom prst="rect">
            <a:avLst/>
          </a:prstGeom>
        </p:spPr>
        <p:txBody>
          <a:bodyPr/>
          <a:lstStyle>
            <a:lvl1pPr>
              <a:defRPr>
                <a:latin typeface="Times" panose="02020603050405020304" pitchFamily="18" charset="0"/>
                <a:ea typeface="+mn-ea"/>
                <a:cs typeface="+mn-cs"/>
              </a:defRPr>
            </a:lvl1pPr>
          </a:lstStyle>
          <a:p>
            <a:pPr>
              <a:defRPr/>
            </a:pPr>
            <a:endParaRPr lang="en-US"/>
          </a:p>
        </p:txBody>
      </p:sp>
      <p:sp>
        <p:nvSpPr>
          <p:cNvPr id="4" name="Slide Number Placeholder 4">
            <a:extLst>
              <a:ext uri="{FF2B5EF4-FFF2-40B4-BE49-F238E27FC236}">
                <a16:creationId xmlns:a16="http://schemas.microsoft.com/office/drawing/2014/main" id="{7A820076-8F20-4794-86C9-C1C74D81F128}"/>
              </a:ext>
            </a:extLst>
          </p:cNvPr>
          <p:cNvSpPr>
            <a:spLocks noGrp="1"/>
          </p:cNvSpPr>
          <p:nvPr>
            <p:ph type="sldNum" sz="quarter" idx="12"/>
          </p:nvPr>
        </p:nvSpPr>
        <p:spPr>
          <a:xfrm>
            <a:off x="8610600" y="6356237"/>
            <a:ext cx="2743200" cy="365125"/>
          </a:xfrm>
          <a:prstGeom prst="rect">
            <a:avLst/>
          </a:prstGeom>
        </p:spPr>
        <p:txBody>
          <a:bodyPr vert="horz" wrap="square" lIns="91440" tIns="45720" rIns="91440" bIns="45720" numCol="1" anchor="t" anchorCtr="0" compatLnSpc="1">
            <a:prstTxWarp prst="textNoShape">
              <a:avLst/>
            </a:prstTxWarp>
          </a:bodyPr>
          <a:lstStyle>
            <a:lvl1pPr>
              <a:defRPr>
                <a:latin typeface="Times" panose="02020603050405020304" pitchFamily="18" charset="0"/>
                <a:ea typeface="MS PGothic" panose="020B0600070205080204" pitchFamily="34" charset="-128"/>
              </a:defRPr>
            </a:lvl1pPr>
          </a:lstStyle>
          <a:p>
            <a:pPr>
              <a:defRPr/>
            </a:pPr>
            <a:fld id="{942E329B-9CC5-4DF4-BFB9-E2206267F8D5}" type="slidenum">
              <a:rPr lang="en-US" altLang="en-US"/>
              <a:pPr>
                <a:defRPr/>
              </a:pPr>
              <a:t>‹#›</a:t>
            </a:fld>
            <a:endParaRPr lang="en-US" altLang="en-US"/>
          </a:p>
        </p:txBody>
      </p:sp>
    </p:spTree>
    <p:extLst>
      <p:ext uri="{BB962C8B-B14F-4D97-AF65-F5344CB8AC3E}">
        <p14:creationId xmlns:p14="http://schemas.microsoft.com/office/powerpoint/2010/main" val="844600989"/>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168F6BA-8FEA-4352-AD57-C53C18374D7F}"/>
              </a:ext>
            </a:extLst>
          </p:cNvPr>
          <p:cNvSpPr>
            <a:spLocks noGrp="1"/>
          </p:cNvSpPr>
          <p:nvPr>
            <p:ph type="dt" sz="half" idx="10"/>
          </p:nvPr>
        </p:nvSpPr>
        <p:spPr>
          <a:xfrm>
            <a:off x="838200" y="6356237"/>
            <a:ext cx="2743200" cy="365125"/>
          </a:xfrm>
          <a:prstGeom prst="rect">
            <a:avLst/>
          </a:prstGeom>
        </p:spPr>
        <p:txBody>
          <a:bodyPr vert="horz" wrap="square" lIns="91440" tIns="45720" rIns="91440" bIns="45720" numCol="1" anchor="t" anchorCtr="0" compatLnSpc="1">
            <a:prstTxWarp prst="textNoShape">
              <a:avLst/>
            </a:prstTxWarp>
          </a:bodyPr>
          <a:lstStyle>
            <a:lvl1pPr>
              <a:defRPr>
                <a:latin typeface="Times" panose="02020603050405020304" pitchFamily="18" charset="0"/>
                <a:ea typeface="MS PGothic" panose="020B0600070205080204" pitchFamily="34" charset="-128"/>
              </a:defRPr>
            </a:lvl1pPr>
          </a:lstStyle>
          <a:p>
            <a:pPr>
              <a:defRPr/>
            </a:pPr>
            <a:fld id="{405DD051-3A4A-4ED8-9FA0-1C3D2315980F}" type="datetimeFigureOut">
              <a:rPr lang="en-US" altLang="en-US"/>
              <a:pPr>
                <a:defRPr/>
              </a:pPr>
              <a:t>8/21/2023</a:t>
            </a:fld>
            <a:endParaRPr lang="en-US" altLang="en-US"/>
          </a:p>
        </p:txBody>
      </p:sp>
      <p:sp>
        <p:nvSpPr>
          <p:cNvPr id="3" name="Footer Placeholder 2">
            <a:extLst>
              <a:ext uri="{FF2B5EF4-FFF2-40B4-BE49-F238E27FC236}">
                <a16:creationId xmlns:a16="http://schemas.microsoft.com/office/drawing/2014/main" id="{2CD4A271-D747-4FC9-AB25-941829C8A8A1}"/>
              </a:ext>
            </a:extLst>
          </p:cNvPr>
          <p:cNvSpPr>
            <a:spLocks noGrp="1"/>
          </p:cNvSpPr>
          <p:nvPr>
            <p:ph type="ftr" sz="quarter" idx="11"/>
          </p:nvPr>
        </p:nvSpPr>
        <p:spPr>
          <a:xfrm>
            <a:off x="4038600" y="6356237"/>
            <a:ext cx="4114800" cy="365125"/>
          </a:xfrm>
          <a:prstGeom prst="rect">
            <a:avLst/>
          </a:prstGeom>
        </p:spPr>
        <p:txBody>
          <a:bodyPr/>
          <a:lstStyle>
            <a:lvl1pPr>
              <a:defRPr>
                <a:latin typeface="Times" panose="02020603050405020304" pitchFamily="18" charset="0"/>
                <a:ea typeface="+mn-ea"/>
                <a:cs typeface="+mn-cs"/>
              </a:defRPr>
            </a:lvl1pPr>
          </a:lstStyle>
          <a:p>
            <a:pPr>
              <a:defRPr/>
            </a:pPr>
            <a:endParaRPr lang="en-US"/>
          </a:p>
        </p:txBody>
      </p:sp>
      <p:sp>
        <p:nvSpPr>
          <p:cNvPr id="4" name="Slide Number Placeholder 3">
            <a:extLst>
              <a:ext uri="{FF2B5EF4-FFF2-40B4-BE49-F238E27FC236}">
                <a16:creationId xmlns:a16="http://schemas.microsoft.com/office/drawing/2014/main" id="{290017A2-3CAC-4C8F-A28F-AEC8CE867B07}"/>
              </a:ext>
            </a:extLst>
          </p:cNvPr>
          <p:cNvSpPr>
            <a:spLocks noGrp="1"/>
          </p:cNvSpPr>
          <p:nvPr>
            <p:ph type="sldNum" sz="quarter" idx="12"/>
          </p:nvPr>
        </p:nvSpPr>
        <p:spPr>
          <a:xfrm>
            <a:off x="8610600" y="6356237"/>
            <a:ext cx="2743200" cy="365125"/>
          </a:xfrm>
          <a:prstGeom prst="rect">
            <a:avLst/>
          </a:prstGeom>
        </p:spPr>
        <p:txBody>
          <a:bodyPr vert="horz" wrap="square" lIns="91440" tIns="45720" rIns="91440" bIns="45720" numCol="1" anchor="t" anchorCtr="0" compatLnSpc="1">
            <a:prstTxWarp prst="textNoShape">
              <a:avLst/>
            </a:prstTxWarp>
          </a:bodyPr>
          <a:lstStyle>
            <a:lvl1pPr>
              <a:defRPr>
                <a:latin typeface="Times" panose="02020603050405020304" pitchFamily="18" charset="0"/>
                <a:ea typeface="MS PGothic" panose="020B0600070205080204" pitchFamily="34" charset="-128"/>
              </a:defRPr>
            </a:lvl1pPr>
          </a:lstStyle>
          <a:p>
            <a:pPr>
              <a:defRPr/>
            </a:pPr>
            <a:fld id="{B718065F-A935-469B-B69A-76EDA13873B2}" type="slidenum">
              <a:rPr lang="en-US" altLang="en-US"/>
              <a:pPr>
                <a:defRPr/>
              </a:pPr>
              <a:t>‹#›</a:t>
            </a:fld>
            <a:endParaRPr lang="en-US" altLang="en-US"/>
          </a:p>
        </p:txBody>
      </p:sp>
    </p:spTree>
    <p:extLst>
      <p:ext uri="{BB962C8B-B14F-4D97-AF65-F5344CB8AC3E}">
        <p14:creationId xmlns:p14="http://schemas.microsoft.com/office/powerpoint/2010/main" val="52832905"/>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613" y="456975"/>
            <a:ext cx="3932767" cy="1600540"/>
          </a:xfrm>
          <a:prstGeom prst="rect">
            <a:avLst/>
          </a:prstGeom>
        </p:spPr>
        <p:txBody>
          <a:bodyPr anchor="b"/>
          <a:lstStyle>
            <a:lvl1pPr>
              <a:defRPr sz="790"/>
            </a:lvl1pPr>
          </a:lstStyle>
          <a:p>
            <a:r>
              <a:rPr lang="en-US"/>
              <a:t>Click to edit Master title style</a:t>
            </a:r>
          </a:p>
        </p:txBody>
      </p:sp>
      <p:sp>
        <p:nvSpPr>
          <p:cNvPr id="3" name="Content Placeholder 2"/>
          <p:cNvSpPr>
            <a:spLocks noGrp="1"/>
          </p:cNvSpPr>
          <p:nvPr>
            <p:ph idx="1"/>
          </p:nvPr>
        </p:nvSpPr>
        <p:spPr>
          <a:xfrm>
            <a:off x="5183011" y="987652"/>
            <a:ext cx="6172200" cy="4873625"/>
          </a:xfrm>
          <a:prstGeom prst="rect">
            <a:avLst/>
          </a:prstGeom>
        </p:spPr>
        <p:txBody>
          <a:bodyPr/>
          <a:lstStyle>
            <a:lvl1pPr>
              <a:defRPr sz="790"/>
            </a:lvl1pPr>
            <a:lvl2pPr>
              <a:defRPr sz="691"/>
            </a:lvl2pPr>
            <a:lvl3pPr>
              <a:defRPr sz="593"/>
            </a:lvl3pPr>
            <a:lvl4pPr>
              <a:defRPr sz="494"/>
            </a:lvl4pPr>
            <a:lvl5pPr>
              <a:defRPr sz="494"/>
            </a:lvl5pPr>
            <a:lvl6pPr>
              <a:defRPr sz="494"/>
            </a:lvl6pPr>
            <a:lvl7pPr>
              <a:defRPr sz="494"/>
            </a:lvl7pPr>
            <a:lvl8pPr>
              <a:defRPr sz="494"/>
            </a:lvl8pPr>
            <a:lvl9pPr>
              <a:defRPr sz="49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613" y="2057514"/>
            <a:ext cx="3932767" cy="3811701"/>
          </a:xfrm>
          <a:prstGeom prst="rect">
            <a:avLst/>
          </a:prstGeom>
        </p:spPr>
        <p:txBody>
          <a:bodyPr/>
          <a:lstStyle>
            <a:lvl1pPr marL="0" indent="0">
              <a:buNone/>
              <a:defRPr sz="395"/>
            </a:lvl1pPr>
            <a:lvl2pPr marL="112901" indent="0">
              <a:buNone/>
              <a:defRPr sz="346"/>
            </a:lvl2pPr>
            <a:lvl3pPr marL="225802" indent="0">
              <a:buNone/>
              <a:defRPr sz="296"/>
            </a:lvl3pPr>
            <a:lvl4pPr marL="338702" indent="0">
              <a:buNone/>
              <a:defRPr sz="247"/>
            </a:lvl4pPr>
            <a:lvl5pPr marL="451603" indent="0">
              <a:buNone/>
              <a:defRPr sz="247"/>
            </a:lvl5pPr>
            <a:lvl6pPr marL="564504" indent="0">
              <a:buNone/>
              <a:defRPr sz="247"/>
            </a:lvl6pPr>
            <a:lvl7pPr marL="677404" indent="0">
              <a:buNone/>
              <a:defRPr sz="247"/>
            </a:lvl7pPr>
            <a:lvl8pPr marL="790305" indent="0">
              <a:buNone/>
              <a:defRPr sz="247"/>
            </a:lvl8pPr>
            <a:lvl9pPr marL="903206" indent="0">
              <a:buNone/>
              <a:defRPr sz="247"/>
            </a:lvl9pPr>
          </a:lstStyle>
          <a:p>
            <a:pPr lvl="0"/>
            <a:r>
              <a:rPr lang="en-US"/>
              <a:t>Click to edit Master text styles</a:t>
            </a:r>
          </a:p>
        </p:txBody>
      </p:sp>
      <p:sp>
        <p:nvSpPr>
          <p:cNvPr id="5" name="Date Placeholder 4">
            <a:extLst>
              <a:ext uri="{FF2B5EF4-FFF2-40B4-BE49-F238E27FC236}">
                <a16:creationId xmlns:a16="http://schemas.microsoft.com/office/drawing/2014/main" id="{EEAFF2AA-9811-4376-AC05-916437085FFB}"/>
              </a:ext>
            </a:extLst>
          </p:cNvPr>
          <p:cNvSpPr>
            <a:spLocks noGrp="1"/>
          </p:cNvSpPr>
          <p:nvPr>
            <p:ph type="dt" sz="half" idx="10"/>
          </p:nvPr>
        </p:nvSpPr>
        <p:spPr>
          <a:xfrm>
            <a:off x="838200" y="6356237"/>
            <a:ext cx="2743200" cy="365125"/>
          </a:xfrm>
          <a:prstGeom prst="rect">
            <a:avLst/>
          </a:prstGeom>
        </p:spPr>
        <p:txBody>
          <a:bodyPr vert="horz" wrap="square" lIns="91440" tIns="45720" rIns="91440" bIns="45720" numCol="1" anchor="t" anchorCtr="0" compatLnSpc="1">
            <a:prstTxWarp prst="textNoShape">
              <a:avLst/>
            </a:prstTxWarp>
          </a:bodyPr>
          <a:lstStyle>
            <a:lvl1pPr>
              <a:defRPr>
                <a:latin typeface="Times" panose="02020603050405020304" pitchFamily="18" charset="0"/>
                <a:ea typeface="MS PGothic" panose="020B0600070205080204" pitchFamily="34" charset="-128"/>
              </a:defRPr>
            </a:lvl1pPr>
          </a:lstStyle>
          <a:p>
            <a:pPr>
              <a:defRPr/>
            </a:pPr>
            <a:fld id="{8043234D-6C48-41D5-A071-A37FD4CDB5DE}" type="datetimeFigureOut">
              <a:rPr lang="en-US" altLang="en-US"/>
              <a:pPr>
                <a:defRPr/>
              </a:pPr>
              <a:t>8/21/2023</a:t>
            </a:fld>
            <a:endParaRPr lang="en-US" altLang="en-US"/>
          </a:p>
        </p:txBody>
      </p:sp>
      <p:sp>
        <p:nvSpPr>
          <p:cNvPr id="6" name="Footer Placeholder 5">
            <a:extLst>
              <a:ext uri="{FF2B5EF4-FFF2-40B4-BE49-F238E27FC236}">
                <a16:creationId xmlns:a16="http://schemas.microsoft.com/office/drawing/2014/main" id="{20FD8F4D-908B-44A1-8093-4FCDE435AD00}"/>
              </a:ext>
            </a:extLst>
          </p:cNvPr>
          <p:cNvSpPr>
            <a:spLocks noGrp="1"/>
          </p:cNvSpPr>
          <p:nvPr>
            <p:ph type="ftr" sz="quarter" idx="11"/>
          </p:nvPr>
        </p:nvSpPr>
        <p:spPr>
          <a:xfrm>
            <a:off x="4038600" y="6356237"/>
            <a:ext cx="4114800" cy="365125"/>
          </a:xfrm>
          <a:prstGeom prst="rect">
            <a:avLst/>
          </a:prstGeom>
        </p:spPr>
        <p:txBody>
          <a:bodyPr/>
          <a:lstStyle>
            <a:lvl1pPr>
              <a:defRPr>
                <a:latin typeface="Times" panose="02020603050405020304" pitchFamily="18" charset="0"/>
                <a:ea typeface="+mn-ea"/>
                <a:cs typeface="+mn-cs"/>
              </a:defRPr>
            </a:lvl1pPr>
          </a:lstStyle>
          <a:p>
            <a:pPr>
              <a:defRPr/>
            </a:pPr>
            <a:endParaRPr lang="en-US"/>
          </a:p>
        </p:txBody>
      </p:sp>
      <p:sp>
        <p:nvSpPr>
          <p:cNvPr id="7" name="Slide Number Placeholder 6">
            <a:extLst>
              <a:ext uri="{FF2B5EF4-FFF2-40B4-BE49-F238E27FC236}">
                <a16:creationId xmlns:a16="http://schemas.microsoft.com/office/drawing/2014/main" id="{E648193D-04CE-4536-9B5A-FCD5B4EF4263}"/>
              </a:ext>
            </a:extLst>
          </p:cNvPr>
          <p:cNvSpPr>
            <a:spLocks noGrp="1"/>
          </p:cNvSpPr>
          <p:nvPr>
            <p:ph type="sldNum" sz="quarter" idx="12"/>
          </p:nvPr>
        </p:nvSpPr>
        <p:spPr>
          <a:xfrm>
            <a:off x="8610600" y="6356237"/>
            <a:ext cx="2743200" cy="365125"/>
          </a:xfrm>
          <a:prstGeom prst="rect">
            <a:avLst/>
          </a:prstGeom>
        </p:spPr>
        <p:txBody>
          <a:bodyPr vert="horz" wrap="square" lIns="91440" tIns="45720" rIns="91440" bIns="45720" numCol="1" anchor="t" anchorCtr="0" compatLnSpc="1">
            <a:prstTxWarp prst="textNoShape">
              <a:avLst/>
            </a:prstTxWarp>
          </a:bodyPr>
          <a:lstStyle>
            <a:lvl1pPr>
              <a:defRPr>
                <a:latin typeface="Times" panose="02020603050405020304" pitchFamily="18" charset="0"/>
                <a:ea typeface="MS PGothic" panose="020B0600070205080204" pitchFamily="34" charset="-128"/>
              </a:defRPr>
            </a:lvl1pPr>
          </a:lstStyle>
          <a:p>
            <a:pPr>
              <a:defRPr/>
            </a:pPr>
            <a:fld id="{551EFFEC-32B8-4A26-9985-E445A62915EF}" type="slidenum">
              <a:rPr lang="en-US" altLang="en-US"/>
              <a:pPr>
                <a:defRPr/>
              </a:pPr>
              <a:t>‹#›</a:t>
            </a:fld>
            <a:endParaRPr lang="en-US" altLang="en-US"/>
          </a:p>
        </p:txBody>
      </p:sp>
    </p:spTree>
    <p:extLst>
      <p:ext uri="{BB962C8B-B14F-4D97-AF65-F5344CB8AC3E}">
        <p14:creationId xmlns:p14="http://schemas.microsoft.com/office/powerpoint/2010/main" val="1387220246"/>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613" y="456975"/>
            <a:ext cx="3932767" cy="1600540"/>
          </a:xfrm>
          <a:prstGeom prst="rect">
            <a:avLst/>
          </a:prstGeom>
        </p:spPr>
        <p:txBody>
          <a:bodyPr anchor="b"/>
          <a:lstStyle>
            <a:lvl1pPr>
              <a:defRPr sz="790"/>
            </a:lvl1pPr>
          </a:lstStyle>
          <a:p>
            <a:r>
              <a:rPr lang="en-US"/>
              <a:t>Click to edit Master title style</a:t>
            </a:r>
          </a:p>
        </p:txBody>
      </p:sp>
      <p:sp>
        <p:nvSpPr>
          <p:cNvPr id="3" name="Picture Placeholder 2"/>
          <p:cNvSpPr>
            <a:spLocks noGrp="1"/>
          </p:cNvSpPr>
          <p:nvPr>
            <p:ph type="pic" idx="1"/>
          </p:nvPr>
        </p:nvSpPr>
        <p:spPr>
          <a:xfrm>
            <a:off x="5183011" y="987652"/>
            <a:ext cx="6172200" cy="4873625"/>
          </a:xfrm>
          <a:prstGeom prst="rect">
            <a:avLst/>
          </a:prstGeom>
        </p:spPr>
        <p:txBody>
          <a:bodyPr/>
          <a:lstStyle>
            <a:lvl1pPr marL="0" indent="0">
              <a:buNone/>
              <a:defRPr sz="790"/>
            </a:lvl1pPr>
            <a:lvl2pPr marL="112901" indent="0">
              <a:buNone/>
              <a:defRPr sz="691"/>
            </a:lvl2pPr>
            <a:lvl3pPr marL="225802" indent="0">
              <a:buNone/>
              <a:defRPr sz="593"/>
            </a:lvl3pPr>
            <a:lvl4pPr marL="338702" indent="0">
              <a:buNone/>
              <a:defRPr sz="494"/>
            </a:lvl4pPr>
            <a:lvl5pPr marL="451603" indent="0">
              <a:buNone/>
              <a:defRPr sz="494"/>
            </a:lvl5pPr>
            <a:lvl6pPr marL="564504" indent="0">
              <a:buNone/>
              <a:defRPr sz="494"/>
            </a:lvl6pPr>
            <a:lvl7pPr marL="677404" indent="0">
              <a:buNone/>
              <a:defRPr sz="494"/>
            </a:lvl7pPr>
            <a:lvl8pPr marL="790305" indent="0">
              <a:buNone/>
              <a:defRPr sz="494"/>
            </a:lvl8pPr>
            <a:lvl9pPr marL="903206" indent="0">
              <a:buNone/>
              <a:defRPr sz="494"/>
            </a:lvl9pPr>
          </a:lstStyle>
          <a:p>
            <a:pPr lvl="0"/>
            <a:endParaRPr lang="en-US" noProof="0"/>
          </a:p>
        </p:txBody>
      </p:sp>
      <p:sp>
        <p:nvSpPr>
          <p:cNvPr id="4" name="Text Placeholder 3"/>
          <p:cNvSpPr>
            <a:spLocks noGrp="1"/>
          </p:cNvSpPr>
          <p:nvPr>
            <p:ph type="body" sz="half" idx="2"/>
          </p:nvPr>
        </p:nvSpPr>
        <p:spPr>
          <a:xfrm>
            <a:off x="839613" y="2057514"/>
            <a:ext cx="3932767" cy="3811701"/>
          </a:xfrm>
          <a:prstGeom prst="rect">
            <a:avLst/>
          </a:prstGeom>
        </p:spPr>
        <p:txBody>
          <a:bodyPr/>
          <a:lstStyle>
            <a:lvl1pPr marL="0" indent="0">
              <a:buNone/>
              <a:defRPr sz="395"/>
            </a:lvl1pPr>
            <a:lvl2pPr marL="112901" indent="0">
              <a:buNone/>
              <a:defRPr sz="346"/>
            </a:lvl2pPr>
            <a:lvl3pPr marL="225802" indent="0">
              <a:buNone/>
              <a:defRPr sz="296"/>
            </a:lvl3pPr>
            <a:lvl4pPr marL="338702" indent="0">
              <a:buNone/>
              <a:defRPr sz="247"/>
            </a:lvl4pPr>
            <a:lvl5pPr marL="451603" indent="0">
              <a:buNone/>
              <a:defRPr sz="247"/>
            </a:lvl5pPr>
            <a:lvl6pPr marL="564504" indent="0">
              <a:buNone/>
              <a:defRPr sz="247"/>
            </a:lvl6pPr>
            <a:lvl7pPr marL="677404" indent="0">
              <a:buNone/>
              <a:defRPr sz="247"/>
            </a:lvl7pPr>
            <a:lvl8pPr marL="790305" indent="0">
              <a:buNone/>
              <a:defRPr sz="247"/>
            </a:lvl8pPr>
            <a:lvl9pPr marL="903206" indent="0">
              <a:buNone/>
              <a:defRPr sz="247"/>
            </a:lvl9pPr>
          </a:lstStyle>
          <a:p>
            <a:pPr lvl="0"/>
            <a:r>
              <a:rPr lang="en-US"/>
              <a:t>Click to edit Master text styles</a:t>
            </a:r>
          </a:p>
        </p:txBody>
      </p:sp>
      <p:sp>
        <p:nvSpPr>
          <p:cNvPr id="5" name="Date Placeholder 4">
            <a:extLst>
              <a:ext uri="{FF2B5EF4-FFF2-40B4-BE49-F238E27FC236}">
                <a16:creationId xmlns:a16="http://schemas.microsoft.com/office/drawing/2014/main" id="{94131324-A5D2-4A6E-840C-15288E8A2B95}"/>
              </a:ext>
            </a:extLst>
          </p:cNvPr>
          <p:cNvSpPr>
            <a:spLocks noGrp="1"/>
          </p:cNvSpPr>
          <p:nvPr>
            <p:ph type="dt" sz="half" idx="10"/>
          </p:nvPr>
        </p:nvSpPr>
        <p:spPr>
          <a:xfrm>
            <a:off x="838200" y="6356237"/>
            <a:ext cx="2743200" cy="365125"/>
          </a:xfrm>
          <a:prstGeom prst="rect">
            <a:avLst/>
          </a:prstGeom>
        </p:spPr>
        <p:txBody>
          <a:bodyPr vert="horz" wrap="square" lIns="91440" tIns="45720" rIns="91440" bIns="45720" numCol="1" anchor="t" anchorCtr="0" compatLnSpc="1">
            <a:prstTxWarp prst="textNoShape">
              <a:avLst/>
            </a:prstTxWarp>
          </a:bodyPr>
          <a:lstStyle>
            <a:lvl1pPr>
              <a:defRPr>
                <a:latin typeface="Times" panose="02020603050405020304" pitchFamily="18" charset="0"/>
                <a:ea typeface="MS PGothic" panose="020B0600070205080204" pitchFamily="34" charset="-128"/>
              </a:defRPr>
            </a:lvl1pPr>
          </a:lstStyle>
          <a:p>
            <a:pPr>
              <a:defRPr/>
            </a:pPr>
            <a:fld id="{AD8D06CA-E499-4A5D-8FDB-3A2D3AA49E28}" type="datetimeFigureOut">
              <a:rPr lang="en-US" altLang="en-US"/>
              <a:pPr>
                <a:defRPr/>
              </a:pPr>
              <a:t>8/21/2023</a:t>
            </a:fld>
            <a:endParaRPr lang="en-US" altLang="en-US"/>
          </a:p>
        </p:txBody>
      </p:sp>
      <p:sp>
        <p:nvSpPr>
          <p:cNvPr id="6" name="Footer Placeholder 5">
            <a:extLst>
              <a:ext uri="{FF2B5EF4-FFF2-40B4-BE49-F238E27FC236}">
                <a16:creationId xmlns:a16="http://schemas.microsoft.com/office/drawing/2014/main" id="{D666FB33-3339-4AA9-8BFE-16A0FF312DB6}"/>
              </a:ext>
            </a:extLst>
          </p:cNvPr>
          <p:cNvSpPr>
            <a:spLocks noGrp="1"/>
          </p:cNvSpPr>
          <p:nvPr>
            <p:ph type="ftr" sz="quarter" idx="11"/>
          </p:nvPr>
        </p:nvSpPr>
        <p:spPr>
          <a:xfrm>
            <a:off x="4038600" y="6356237"/>
            <a:ext cx="4114800" cy="365125"/>
          </a:xfrm>
          <a:prstGeom prst="rect">
            <a:avLst/>
          </a:prstGeom>
        </p:spPr>
        <p:txBody>
          <a:bodyPr/>
          <a:lstStyle>
            <a:lvl1pPr>
              <a:defRPr>
                <a:latin typeface="Times" panose="02020603050405020304" pitchFamily="18" charset="0"/>
                <a:ea typeface="+mn-ea"/>
                <a:cs typeface="+mn-cs"/>
              </a:defRPr>
            </a:lvl1pPr>
          </a:lstStyle>
          <a:p>
            <a:pPr>
              <a:defRPr/>
            </a:pPr>
            <a:endParaRPr lang="en-US"/>
          </a:p>
        </p:txBody>
      </p:sp>
      <p:sp>
        <p:nvSpPr>
          <p:cNvPr id="7" name="Slide Number Placeholder 6">
            <a:extLst>
              <a:ext uri="{FF2B5EF4-FFF2-40B4-BE49-F238E27FC236}">
                <a16:creationId xmlns:a16="http://schemas.microsoft.com/office/drawing/2014/main" id="{5E0DDCE4-A3F5-4E78-AC80-D99BD0EE9755}"/>
              </a:ext>
            </a:extLst>
          </p:cNvPr>
          <p:cNvSpPr>
            <a:spLocks noGrp="1"/>
          </p:cNvSpPr>
          <p:nvPr>
            <p:ph type="sldNum" sz="quarter" idx="12"/>
          </p:nvPr>
        </p:nvSpPr>
        <p:spPr>
          <a:xfrm>
            <a:off x="8610600" y="6356237"/>
            <a:ext cx="2743200" cy="365125"/>
          </a:xfrm>
          <a:prstGeom prst="rect">
            <a:avLst/>
          </a:prstGeom>
        </p:spPr>
        <p:txBody>
          <a:bodyPr vert="horz" wrap="square" lIns="91440" tIns="45720" rIns="91440" bIns="45720" numCol="1" anchor="t" anchorCtr="0" compatLnSpc="1">
            <a:prstTxWarp prst="textNoShape">
              <a:avLst/>
            </a:prstTxWarp>
          </a:bodyPr>
          <a:lstStyle>
            <a:lvl1pPr>
              <a:defRPr>
                <a:latin typeface="Times" panose="02020603050405020304" pitchFamily="18" charset="0"/>
                <a:ea typeface="MS PGothic" panose="020B0600070205080204" pitchFamily="34" charset="-128"/>
              </a:defRPr>
            </a:lvl1pPr>
          </a:lstStyle>
          <a:p>
            <a:pPr>
              <a:defRPr/>
            </a:pPr>
            <a:fld id="{315E0D4F-3BF2-432E-B524-E2CC6CAD2C1C}" type="slidenum">
              <a:rPr lang="en-US" altLang="en-US"/>
              <a:pPr>
                <a:defRPr/>
              </a:pPr>
              <a:t>‹#›</a:t>
            </a:fld>
            <a:endParaRPr lang="en-US" altLang="en-US"/>
          </a:p>
        </p:txBody>
      </p:sp>
    </p:spTree>
    <p:extLst>
      <p:ext uri="{BB962C8B-B14F-4D97-AF65-F5344CB8AC3E}">
        <p14:creationId xmlns:p14="http://schemas.microsoft.com/office/powerpoint/2010/main" val="2895533278"/>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838200" y="1825626"/>
            <a:ext cx="10515600" cy="4351451"/>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925639E-E95D-4555-93F0-7E6571520FD3}"/>
              </a:ext>
            </a:extLst>
          </p:cNvPr>
          <p:cNvSpPr>
            <a:spLocks noGrp="1"/>
          </p:cNvSpPr>
          <p:nvPr>
            <p:ph type="dt" sz="half" idx="10"/>
          </p:nvPr>
        </p:nvSpPr>
        <p:spPr>
          <a:xfrm>
            <a:off x="838200" y="6356237"/>
            <a:ext cx="2743200" cy="365125"/>
          </a:xfrm>
          <a:prstGeom prst="rect">
            <a:avLst/>
          </a:prstGeom>
        </p:spPr>
        <p:txBody>
          <a:bodyPr vert="horz" wrap="square" lIns="91440" tIns="45720" rIns="91440" bIns="45720" numCol="1" anchor="t" anchorCtr="0" compatLnSpc="1">
            <a:prstTxWarp prst="textNoShape">
              <a:avLst/>
            </a:prstTxWarp>
          </a:bodyPr>
          <a:lstStyle>
            <a:lvl1pPr>
              <a:defRPr>
                <a:latin typeface="Times" panose="02020603050405020304" pitchFamily="18" charset="0"/>
                <a:ea typeface="MS PGothic" panose="020B0600070205080204" pitchFamily="34" charset="-128"/>
              </a:defRPr>
            </a:lvl1pPr>
          </a:lstStyle>
          <a:p>
            <a:pPr>
              <a:defRPr/>
            </a:pPr>
            <a:fld id="{6ABAC0F8-DB52-4A78-8D22-529F27C9449B}" type="datetimeFigureOut">
              <a:rPr lang="en-US" altLang="en-US"/>
              <a:pPr>
                <a:defRPr/>
              </a:pPr>
              <a:t>8/21/2023</a:t>
            </a:fld>
            <a:endParaRPr lang="en-US" altLang="en-US"/>
          </a:p>
        </p:txBody>
      </p:sp>
      <p:sp>
        <p:nvSpPr>
          <p:cNvPr id="5" name="Footer Placeholder 4">
            <a:extLst>
              <a:ext uri="{FF2B5EF4-FFF2-40B4-BE49-F238E27FC236}">
                <a16:creationId xmlns:a16="http://schemas.microsoft.com/office/drawing/2014/main" id="{771E7989-F433-41D4-B4F1-455D8354AE0F}"/>
              </a:ext>
            </a:extLst>
          </p:cNvPr>
          <p:cNvSpPr>
            <a:spLocks noGrp="1"/>
          </p:cNvSpPr>
          <p:nvPr>
            <p:ph type="ftr" sz="quarter" idx="11"/>
          </p:nvPr>
        </p:nvSpPr>
        <p:spPr>
          <a:xfrm>
            <a:off x="4038600" y="6356237"/>
            <a:ext cx="4114800" cy="365125"/>
          </a:xfrm>
          <a:prstGeom prst="rect">
            <a:avLst/>
          </a:prstGeom>
        </p:spPr>
        <p:txBody>
          <a:bodyPr/>
          <a:lstStyle>
            <a:lvl1pPr>
              <a:defRPr>
                <a:latin typeface="Times" panose="02020603050405020304" pitchFamily="18" charset="0"/>
                <a:ea typeface="+mn-ea"/>
                <a:cs typeface="+mn-cs"/>
              </a:defRPr>
            </a:lvl1pPr>
          </a:lstStyle>
          <a:p>
            <a:pPr>
              <a:defRPr/>
            </a:pPr>
            <a:endParaRPr lang="en-US"/>
          </a:p>
        </p:txBody>
      </p:sp>
      <p:sp>
        <p:nvSpPr>
          <p:cNvPr id="6" name="Slide Number Placeholder 5">
            <a:extLst>
              <a:ext uri="{FF2B5EF4-FFF2-40B4-BE49-F238E27FC236}">
                <a16:creationId xmlns:a16="http://schemas.microsoft.com/office/drawing/2014/main" id="{F09A4A03-6257-4604-85BA-A95F824C6608}"/>
              </a:ext>
            </a:extLst>
          </p:cNvPr>
          <p:cNvSpPr>
            <a:spLocks noGrp="1"/>
          </p:cNvSpPr>
          <p:nvPr>
            <p:ph type="sldNum" sz="quarter" idx="12"/>
          </p:nvPr>
        </p:nvSpPr>
        <p:spPr>
          <a:xfrm>
            <a:off x="8610600" y="6356237"/>
            <a:ext cx="2743200" cy="365125"/>
          </a:xfrm>
          <a:prstGeom prst="rect">
            <a:avLst/>
          </a:prstGeom>
        </p:spPr>
        <p:txBody>
          <a:bodyPr vert="horz" wrap="square" lIns="91440" tIns="45720" rIns="91440" bIns="45720" numCol="1" anchor="t" anchorCtr="0" compatLnSpc="1">
            <a:prstTxWarp prst="textNoShape">
              <a:avLst/>
            </a:prstTxWarp>
          </a:bodyPr>
          <a:lstStyle>
            <a:lvl1pPr>
              <a:defRPr>
                <a:latin typeface="Times" panose="02020603050405020304" pitchFamily="18" charset="0"/>
                <a:ea typeface="MS PGothic" panose="020B0600070205080204" pitchFamily="34" charset="-128"/>
              </a:defRPr>
            </a:lvl1pPr>
          </a:lstStyle>
          <a:p>
            <a:pPr>
              <a:defRPr/>
            </a:pPr>
            <a:fld id="{0BBD4987-2FC8-4BE5-AD26-343932A38FCF}" type="slidenum">
              <a:rPr lang="en-US" altLang="en-US"/>
              <a:pPr>
                <a:defRPr/>
              </a:pPr>
              <a:t>‹#›</a:t>
            </a:fld>
            <a:endParaRPr lang="en-US" altLang="en-US"/>
          </a:p>
        </p:txBody>
      </p:sp>
    </p:spTree>
    <p:extLst>
      <p:ext uri="{BB962C8B-B14F-4D97-AF65-F5344CB8AC3E}">
        <p14:creationId xmlns:p14="http://schemas.microsoft.com/office/powerpoint/2010/main" val="478547549"/>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2" y="365126"/>
            <a:ext cx="2628900" cy="5811951"/>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6"/>
            <a:ext cx="7818967" cy="5811951"/>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27B5BB0-867C-421A-92AE-3159A5774F7E}"/>
              </a:ext>
            </a:extLst>
          </p:cNvPr>
          <p:cNvSpPr>
            <a:spLocks noGrp="1"/>
          </p:cNvSpPr>
          <p:nvPr>
            <p:ph type="dt" sz="half" idx="10"/>
          </p:nvPr>
        </p:nvSpPr>
        <p:spPr>
          <a:xfrm>
            <a:off x="838200" y="6356237"/>
            <a:ext cx="2743200" cy="365125"/>
          </a:xfrm>
          <a:prstGeom prst="rect">
            <a:avLst/>
          </a:prstGeom>
        </p:spPr>
        <p:txBody>
          <a:bodyPr vert="horz" wrap="square" lIns="91440" tIns="45720" rIns="91440" bIns="45720" numCol="1" anchor="t" anchorCtr="0" compatLnSpc="1">
            <a:prstTxWarp prst="textNoShape">
              <a:avLst/>
            </a:prstTxWarp>
          </a:bodyPr>
          <a:lstStyle>
            <a:lvl1pPr>
              <a:defRPr>
                <a:latin typeface="Times" panose="02020603050405020304" pitchFamily="18" charset="0"/>
                <a:ea typeface="MS PGothic" panose="020B0600070205080204" pitchFamily="34" charset="-128"/>
              </a:defRPr>
            </a:lvl1pPr>
          </a:lstStyle>
          <a:p>
            <a:pPr>
              <a:defRPr/>
            </a:pPr>
            <a:fld id="{B51FD204-7E47-401F-9312-DC9B64323417}" type="datetimeFigureOut">
              <a:rPr lang="en-US" altLang="en-US"/>
              <a:pPr>
                <a:defRPr/>
              </a:pPr>
              <a:t>8/21/2023</a:t>
            </a:fld>
            <a:endParaRPr lang="en-US" altLang="en-US"/>
          </a:p>
        </p:txBody>
      </p:sp>
      <p:sp>
        <p:nvSpPr>
          <p:cNvPr id="5" name="Footer Placeholder 4">
            <a:extLst>
              <a:ext uri="{FF2B5EF4-FFF2-40B4-BE49-F238E27FC236}">
                <a16:creationId xmlns:a16="http://schemas.microsoft.com/office/drawing/2014/main" id="{7D467FD1-AB69-405E-84BF-0E1B9B55257B}"/>
              </a:ext>
            </a:extLst>
          </p:cNvPr>
          <p:cNvSpPr>
            <a:spLocks noGrp="1"/>
          </p:cNvSpPr>
          <p:nvPr>
            <p:ph type="ftr" sz="quarter" idx="11"/>
          </p:nvPr>
        </p:nvSpPr>
        <p:spPr>
          <a:xfrm>
            <a:off x="4038600" y="6356237"/>
            <a:ext cx="4114800" cy="365125"/>
          </a:xfrm>
          <a:prstGeom prst="rect">
            <a:avLst/>
          </a:prstGeom>
        </p:spPr>
        <p:txBody>
          <a:bodyPr/>
          <a:lstStyle>
            <a:lvl1pPr>
              <a:defRPr>
                <a:latin typeface="Times" panose="02020603050405020304" pitchFamily="18" charset="0"/>
                <a:ea typeface="+mn-ea"/>
                <a:cs typeface="+mn-cs"/>
              </a:defRPr>
            </a:lvl1pPr>
          </a:lstStyle>
          <a:p>
            <a:pPr>
              <a:defRPr/>
            </a:pPr>
            <a:endParaRPr lang="en-US"/>
          </a:p>
        </p:txBody>
      </p:sp>
      <p:sp>
        <p:nvSpPr>
          <p:cNvPr id="6" name="Slide Number Placeholder 5">
            <a:extLst>
              <a:ext uri="{FF2B5EF4-FFF2-40B4-BE49-F238E27FC236}">
                <a16:creationId xmlns:a16="http://schemas.microsoft.com/office/drawing/2014/main" id="{AF489E36-F14A-4D96-95DE-F5C671463D41}"/>
              </a:ext>
            </a:extLst>
          </p:cNvPr>
          <p:cNvSpPr>
            <a:spLocks noGrp="1"/>
          </p:cNvSpPr>
          <p:nvPr>
            <p:ph type="sldNum" sz="quarter" idx="12"/>
          </p:nvPr>
        </p:nvSpPr>
        <p:spPr>
          <a:xfrm>
            <a:off x="8610600" y="6356237"/>
            <a:ext cx="2743200" cy="365125"/>
          </a:xfrm>
          <a:prstGeom prst="rect">
            <a:avLst/>
          </a:prstGeom>
        </p:spPr>
        <p:txBody>
          <a:bodyPr vert="horz" wrap="square" lIns="91440" tIns="45720" rIns="91440" bIns="45720" numCol="1" anchor="t" anchorCtr="0" compatLnSpc="1">
            <a:prstTxWarp prst="textNoShape">
              <a:avLst/>
            </a:prstTxWarp>
          </a:bodyPr>
          <a:lstStyle>
            <a:lvl1pPr>
              <a:defRPr>
                <a:latin typeface="Times" panose="02020603050405020304" pitchFamily="18" charset="0"/>
                <a:ea typeface="MS PGothic" panose="020B0600070205080204" pitchFamily="34" charset="-128"/>
              </a:defRPr>
            </a:lvl1pPr>
          </a:lstStyle>
          <a:p>
            <a:pPr>
              <a:defRPr/>
            </a:pPr>
            <a:fld id="{877556B4-96E0-49F8-9DBE-08C5880C55AA}" type="slidenum">
              <a:rPr lang="en-US" altLang="en-US"/>
              <a:pPr>
                <a:defRPr/>
              </a:pPr>
              <a:t>‹#›</a:t>
            </a:fld>
            <a:endParaRPr lang="en-US" altLang="en-US"/>
          </a:p>
        </p:txBody>
      </p:sp>
    </p:spTree>
    <p:extLst>
      <p:ext uri="{BB962C8B-B14F-4D97-AF65-F5344CB8AC3E}">
        <p14:creationId xmlns:p14="http://schemas.microsoft.com/office/powerpoint/2010/main" val="353818715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accent1"/>
        </a:solidFill>
        <a:effectLst/>
      </p:bgPr>
    </p:bg>
    <p:spTree>
      <p:nvGrpSpPr>
        <p:cNvPr id="1" name=""/>
        <p:cNvGrpSpPr/>
        <p:nvPr/>
      </p:nvGrpSpPr>
      <p:grpSpPr>
        <a:xfrm>
          <a:off x="0" y="0"/>
          <a:ext cx="0" cy="0"/>
          <a:chOff x="0" y="0"/>
          <a:chExt cx="0" cy="0"/>
        </a:xfrm>
      </p:grpSpPr>
      <p:sp>
        <p:nvSpPr>
          <p:cNvPr id="15" name="Image 0" descr="preencoded.png">
            <a:extLst>
              <a:ext uri="{FF2B5EF4-FFF2-40B4-BE49-F238E27FC236}">
                <a16:creationId xmlns:a16="http://schemas.microsoft.com/office/drawing/2014/main" id="{BA5D5A72-CB6F-F8DE-E2C9-90459C8C3DC1}"/>
              </a:ext>
            </a:extLst>
          </p:cNvPr>
          <p:cNvSpPr/>
          <p:nvPr/>
        </p:nvSpPr>
        <p:spPr>
          <a:xfrm>
            <a:off x="0" y="0"/>
            <a:ext cx="5295900" cy="6877050"/>
          </a:xfrm>
          <a:custGeom>
            <a:avLst/>
            <a:gdLst>
              <a:gd name="connsiteX0" fmla="*/ 0 w 5295900"/>
              <a:gd name="connsiteY0" fmla="*/ 0 h 6877050"/>
              <a:gd name="connsiteX1" fmla="*/ 5295900 w 5295900"/>
              <a:gd name="connsiteY1" fmla="*/ 0 h 6877050"/>
              <a:gd name="connsiteX2" fmla="*/ 5295900 w 5295900"/>
              <a:gd name="connsiteY2" fmla="*/ 6877050 h 6877050"/>
              <a:gd name="connsiteX3" fmla="*/ 0 w 5295900"/>
              <a:gd name="connsiteY3" fmla="*/ 6877050 h 6877050"/>
            </a:gdLst>
            <a:ahLst/>
            <a:cxnLst>
              <a:cxn ang="0">
                <a:pos x="connsiteX0" y="connsiteY0"/>
              </a:cxn>
              <a:cxn ang="0">
                <a:pos x="connsiteX1" y="connsiteY1"/>
              </a:cxn>
              <a:cxn ang="0">
                <a:pos x="connsiteX2" y="connsiteY2"/>
              </a:cxn>
              <a:cxn ang="0">
                <a:pos x="connsiteX3" y="connsiteY3"/>
              </a:cxn>
            </a:cxnLst>
            <a:rect l="l" t="t" r="r" b="b"/>
            <a:pathLst>
              <a:path w="5295900" h="6877050">
                <a:moveTo>
                  <a:pt x="0" y="0"/>
                </a:moveTo>
                <a:lnTo>
                  <a:pt x="5295900" y="0"/>
                </a:lnTo>
                <a:lnTo>
                  <a:pt x="5295900" y="6877050"/>
                </a:lnTo>
                <a:lnTo>
                  <a:pt x="0" y="6877050"/>
                </a:lnTo>
                <a:close/>
              </a:path>
            </a:pathLst>
          </a:custGeom>
          <a:solidFill>
            <a:schemeClr val="accent3"/>
          </a:solidFill>
          <a:ln w="4763" cap="flat">
            <a:noFill/>
            <a:prstDash val="solid"/>
            <a:miter/>
          </a:ln>
        </p:spPr>
        <p:txBody>
          <a:bodyPr rtlCol="0" anchor="ctr">
            <a:noAutofit/>
          </a:bodyPr>
          <a:lstStyle/>
          <a:p>
            <a:endParaRPr lang="en-US" dirty="0"/>
          </a:p>
        </p:txBody>
      </p:sp>
      <p:sp>
        <p:nvSpPr>
          <p:cNvPr id="20" name="Freeform: Shape 19">
            <a:extLst>
              <a:ext uri="{FF2B5EF4-FFF2-40B4-BE49-F238E27FC236}">
                <a16:creationId xmlns:a16="http://schemas.microsoft.com/office/drawing/2014/main" id="{E66FD7FF-2869-7902-36B2-2B229AB9AB19}"/>
              </a:ext>
            </a:extLst>
          </p:cNvPr>
          <p:cNvSpPr/>
          <p:nvPr userDrawn="1"/>
        </p:nvSpPr>
        <p:spPr>
          <a:xfrm>
            <a:off x="1600201" y="1153228"/>
            <a:ext cx="9191625" cy="5704772"/>
          </a:xfrm>
          <a:custGeom>
            <a:avLst/>
            <a:gdLst>
              <a:gd name="connsiteX0" fmla="*/ 4595813 w 9191625"/>
              <a:gd name="connsiteY0" fmla="*/ 0 h 5704772"/>
              <a:gd name="connsiteX1" fmla="*/ 9191625 w 9191625"/>
              <a:gd name="connsiteY1" fmla="*/ 4592108 h 5704772"/>
              <a:gd name="connsiteX2" fmla="*/ 9191625 w 9191625"/>
              <a:gd name="connsiteY2" fmla="*/ 5704772 h 5704772"/>
              <a:gd name="connsiteX3" fmla="*/ 0 w 9191625"/>
              <a:gd name="connsiteY3" fmla="*/ 5704772 h 5704772"/>
              <a:gd name="connsiteX4" fmla="*/ 0 w 9191625"/>
              <a:gd name="connsiteY4" fmla="*/ 4592108 h 5704772"/>
              <a:gd name="connsiteX5" fmla="*/ 4595813 w 9191625"/>
              <a:gd name="connsiteY5" fmla="*/ 0 h 5704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91625" h="5704772">
                <a:moveTo>
                  <a:pt x="4595813" y="0"/>
                </a:moveTo>
                <a:cubicBezTo>
                  <a:pt x="7133987" y="0"/>
                  <a:pt x="9191625" y="2055957"/>
                  <a:pt x="9191625" y="4592108"/>
                </a:cubicBezTo>
                <a:lnTo>
                  <a:pt x="9191625" y="5704772"/>
                </a:lnTo>
                <a:lnTo>
                  <a:pt x="0" y="5704772"/>
                </a:lnTo>
                <a:lnTo>
                  <a:pt x="0" y="4592108"/>
                </a:lnTo>
                <a:cubicBezTo>
                  <a:pt x="0" y="2055957"/>
                  <a:pt x="2057614" y="0"/>
                  <a:pt x="4595813" y="0"/>
                </a:cubicBezTo>
                <a:close/>
              </a:path>
            </a:pathLst>
          </a:custGeom>
          <a:solidFill>
            <a:schemeClr val="accent6"/>
          </a:solidFill>
          <a:ln w="476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dirty="0">
              <a:solidFill>
                <a:schemeClr val="tx1"/>
              </a:solidFill>
            </a:endParaRPr>
          </a:p>
        </p:txBody>
      </p:sp>
      <p:sp>
        <p:nvSpPr>
          <p:cNvPr id="18" name="Freeform: Shape 17">
            <a:extLst>
              <a:ext uri="{FF2B5EF4-FFF2-40B4-BE49-F238E27FC236}">
                <a16:creationId xmlns:a16="http://schemas.microsoft.com/office/drawing/2014/main" id="{B1457C88-4472-81CF-02AF-4421E0A3084B}"/>
              </a:ext>
            </a:extLst>
          </p:cNvPr>
          <p:cNvSpPr/>
          <p:nvPr userDrawn="1"/>
        </p:nvSpPr>
        <p:spPr>
          <a:xfrm>
            <a:off x="2795588" y="0"/>
            <a:ext cx="6803142" cy="5396474"/>
          </a:xfrm>
          <a:custGeom>
            <a:avLst/>
            <a:gdLst>
              <a:gd name="connsiteX0" fmla="*/ 0 w 6803142"/>
              <a:gd name="connsiteY0" fmla="*/ 0 h 5396474"/>
              <a:gd name="connsiteX1" fmla="*/ 6803142 w 6803142"/>
              <a:gd name="connsiteY1" fmla="*/ 0 h 5396474"/>
              <a:gd name="connsiteX2" fmla="*/ 6803142 w 6803142"/>
              <a:gd name="connsiteY2" fmla="*/ 1997094 h 5396474"/>
              <a:gd name="connsiteX3" fmla="*/ 3401576 w 6803142"/>
              <a:gd name="connsiteY3" fmla="*/ 5396474 h 5396474"/>
              <a:gd name="connsiteX4" fmla="*/ 0 w 6803142"/>
              <a:gd name="connsiteY4" fmla="*/ 1997094 h 5396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3142" h="5396474">
                <a:moveTo>
                  <a:pt x="0" y="0"/>
                </a:moveTo>
                <a:lnTo>
                  <a:pt x="6803142" y="0"/>
                </a:lnTo>
                <a:lnTo>
                  <a:pt x="6803142" y="1997094"/>
                </a:lnTo>
                <a:cubicBezTo>
                  <a:pt x="6803142" y="3874511"/>
                  <a:pt x="5280228" y="5396474"/>
                  <a:pt x="3401576" y="5396474"/>
                </a:cubicBezTo>
                <a:cubicBezTo>
                  <a:pt x="1522938" y="5396474"/>
                  <a:pt x="0" y="3874511"/>
                  <a:pt x="0" y="1997094"/>
                </a:cubicBezTo>
                <a:close/>
              </a:path>
            </a:pathLst>
          </a:custGeom>
          <a:solidFill>
            <a:schemeClr val="bg1">
              <a:alpha val="99000"/>
            </a:schemeClr>
          </a:solidFill>
          <a:ln w="475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dirty="0">
              <a:solidFill>
                <a:schemeClr val="tx1"/>
              </a:solidFill>
            </a:endParaRPr>
          </a:p>
        </p:txBody>
      </p:sp>
      <p:sp>
        <p:nvSpPr>
          <p:cNvPr id="2" name="Title 1"/>
          <p:cNvSpPr>
            <a:spLocks noGrp="1"/>
          </p:cNvSpPr>
          <p:nvPr>
            <p:ph type="ctrTitle"/>
          </p:nvPr>
        </p:nvSpPr>
        <p:spPr>
          <a:xfrm>
            <a:off x="3403092" y="1984248"/>
            <a:ext cx="5385816" cy="1225296"/>
          </a:xfrm>
        </p:spPr>
        <p:txBody>
          <a:bodyPr tIns="0" anchor="t">
            <a:noAutofit/>
          </a:bodyPr>
          <a:lstStyle>
            <a:lvl1pPr algn="ctr">
              <a:defRPr sz="4400"/>
            </a:lvl1pPr>
          </a:lstStyle>
          <a:p>
            <a:r>
              <a:rPr lang="en-US" dirty="0"/>
              <a:t>Click to edit Master title style</a:t>
            </a:r>
          </a:p>
        </p:txBody>
      </p:sp>
      <p:sp>
        <p:nvSpPr>
          <p:cNvPr id="3" name="Subtitle 2"/>
          <p:cNvSpPr>
            <a:spLocks noGrp="1"/>
          </p:cNvSpPr>
          <p:nvPr>
            <p:ph type="subTitle" idx="1"/>
          </p:nvPr>
        </p:nvSpPr>
        <p:spPr>
          <a:xfrm>
            <a:off x="4349496" y="3483864"/>
            <a:ext cx="3493008" cy="878908"/>
          </a:xfrm>
        </p:spPr>
        <p:txBody>
          <a:bodyPr lIns="0" tIns="0" rIns="0" bIns="0">
            <a:noAutofit/>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357593635"/>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75923D9E-9381-3D11-B31A-1BF5C97F35B0}"/>
              </a:ext>
            </a:extLst>
          </p:cNvPr>
          <p:cNvGrpSpPr/>
          <p:nvPr userDrawn="1"/>
        </p:nvGrpSpPr>
        <p:grpSpPr>
          <a:xfrm>
            <a:off x="6452303" y="3405019"/>
            <a:ext cx="5739697" cy="3467971"/>
            <a:chOff x="5009037" y="2525712"/>
            <a:chExt cx="7170193" cy="4332288"/>
          </a:xfrm>
        </p:grpSpPr>
        <p:sp>
          <p:nvSpPr>
            <p:cNvPr id="7" name="Freeform 7">
              <a:extLst>
                <a:ext uri="{FF2B5EF4-FFF2-40B4-BE49-F238E27FC236}">
                  <a16:creationId xmlns:a16="http://schemas.microsoft.com/office/drawing/2014/main" id="{89E777D0-3240-08CE-6B6C-B33B910B8490}"/>
                </a:ext>
              </a:extLst>
            </p:cNvPr>
            <p:cNvSpPr>
              <a:spLocks/>
            </p:cNvSpPr>
            <p:nvPr/>
          </p:nvSpPr>
          <p:spPr bwMode="auto">
            <a:xfrm>
              <a:off x="5009037" y="2525712"/>
              <a:ext cx="3601721" cy="4332288"/>
            </a:xfrm>
            <a:custGeom>
              <a:avLst/>
              <a:gdLst>
                <a:gd name="T0" fmla="*/ 1198 w 1198"/>
                <a:gd name="T1" fmla="*/ 0 h 1441"/>
                <a:gd name="T2" fmla="*/ 0 w 1198"/>
                <a:gd name="T3" fmla="*/ 1441 h 1441"/>
                <a:gd name="T4" fmla="*/ 1198 w 1198"/>
                <a:gd name="T5" fmla="*/ 1441 h 1441"/>
                <a:gd name="T6" fmla="*/ 1198 w 1198"/>
                <a:gd name="T7" fmla="*/ 0 h 1441"/>
              </a:gdLst>
              <a:ahLst/>
              <a:cxnLst>
                <a:cxn ang="0">
                  <a:pos x="T0" y="T1"/>
                </a:cxn>
                <a:cxn ang="0">
                  <a:pos x="T2" y="T3"/>
                </a:cxn>
                <a:cxn ang="0">
                  <a:pos x="T4" y="T5"/>
                </a:cxn>
                <a:cxn ang="0">
                  <a:pos x="T6" y="T7"/>
                </a:cxn>
              </a:cxnLst>
              <a:rect l="0" t="0" r="r" b="b"/>
              <a:pathLst>
                <a:path w="1198" h="1441">
                  <a:moveTo>
                    <a:pt x="1198" y="0"/>
                  </a:moveTo>
                  <a:lnTo>
                    <a:pt x="0" y="1441"/>
                  </a:lnTo>
                  <a:lnTo>
                    <a:pt x="1198" y="1441"/>
                  </a:lnTo>
                  <a:lnTo>
                    <a:pt x="1198" y="0"/>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8" name="Freeform 6">
              <a:extLst>
                <a:ext uri="{FF2B5EF4-FFF2-40B4-BE49-F238E27FC236}">
                  <a16:creationId xmlns:a16="http://schemas.microsoft.com/office/drawing/2014/main" id="{EFEA81A2-6893-518C-6AF3-37C987789C86}"/>
                </a:ext>
              </a:extLst>
            </p:cNvPr>
            <p:cNvSpPr>
              <a:spLocks/>
            </p:cNvSpPr>
            <p:nvPr/>
          </p:nvSpPr>
          <p:spPr bwMode="auto">
            <a:xfrm>
              <a:off x="8589536" y="2525712"/>
              <a:ext cx="3589694" cy="4332288"/>
            </a:xfrm>
            <a:custGeom>
              <a:avLst/>
              <a:gdLst>
                <a:gd name="T0" fmla="*/ 0 w 1194"/>
                <a:gd name="T1" fmla="*/ 0 h 1441"/>
                <a:gd name="T2" fmla="*/ 1194 w 1194"/>
                <a:gd name="T3" fmla="*/ 1441 h 1441"/>
                <a:gd name="T4" fmla="*/ 0 w 1194"/>
                <a:gd name="T5" fmla="*/ 1441 h 1441"/>
                <a:gd name="T6" fmla="*/ 0 w 1194"/>
                <a:gd name="T7" fmla="*/ 0 h 1441"/>
              </a:gdLst>
              <a:ahLst/>
              <a:cxnLst>
                <a:cxn ang="0">
                  <a:pos x="T0" y="T1"/>
                </a:cxn>
                <a:cxn ang="0">
                  <a:pos x="T2" y="T3"/>
                </a:cxn>
                <a:cxn ang="0">
                  <a:pos x="T4" y="T5"/>
                </a:cxn>
                <a:cxn ang="0">
                  <a:pos x="T6" y="T7"/>
                </a:cxn>
              </a:cxnLst>
              <a:rect l="0" t="0" r="r" b="b"/>
              <a:pathLst>
                <a:path w="1194" h="1441">
                  <a:moveTo>
                    <a:pt x="0" y="0"/>
                  </a:moveTo>
                  <a:lnTo>
                    <a:pt x="1194" y="1441"/>
                  </a:lnTo>
                  <a:lnTo>
                    <a:pt x="0" y="1441"/>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nvGrpSpPr>
          <p:cNvPr id="9" name="Group 8">
            <a:extLst>
              <a:ext uri="{FF2B5EF4-FFF2-40B4-BE49-F238E27FC236}">
                <a16:creationId xmlns:a16="http://schemas.microsoft.com/office/drawing/2014/main" id="{0F297964-0B81-31DC-6D6D-1414832238B1}"/>
              </a:ext>
            </a:extLst>
          </p:cNvPr>
          <p:cNvGrpSpPr/>
          <p:nvPr userDrawn="1"/>
        </p:nvGrpSpPr>
        <p:grpSpPr>
          <a:xfrm flipH="1" flipV="1">
            <a:off x="6465610" y="0"/>
            <a:ext cx="5739697" cy="3467971"/>
            <a:chOff x="5183405" y="2678112"/>
            <a:chExt cx="7170193" cy="4332288"/>
          </a:xfrm>
        </p:grpSpPr>
        <p:sp>
          <p:nvSpPr>
            <p:cNvPr id="10" name="Freeform 7">
              <a:extLst>
                <a:ext uri="{FF2B5EF4-FFF2-40B4-BE49-F238E27FC236}">
                  <a16:creationId xmlns:a16="http://schemas.microsoft.com/office/drawing/2014/main" id="{CE4FDB43-7466-4B74-330E-836DA9504C90}"/>
                </a:ext>
              </a:extLst>
            </p:cNvPr>
            <p:cNvSpPr>
              <a:spLocks/>
            </p:cNvSpPr>
            <p:nvPr/>
          </p:nvSpPr>
          <p:spPr bwMode="auto">
            <a:xfrm>
              <a:off x="5183405" y="2678112"/>
              <a:ext cx="3601721" cy="4332288"/>
            </a:xfrm>
            <a:custGeom>
              <a:avLst/>
              <a:gdLst>
                <a:gd name="T0" fmla="*/ 1198 w 1198"/>
                <a:gd name="T1" fmla="*/ 0 h 1441"/>
                <a:gd name="T2" fmla="*/ 0 w 1198"/>
                <a:gd name="T3" fmla="*/ 1441 h 1441"/>
                <a:gd name="T4" fmla="*/ 1198 w 1198"/>
                <a:gd name="T5" fmla="*/ 1441 h 1441"/>
                <a:gd name="T6" fmla="*/ 1198 w 1198"/>
                <a:gd name="T7" fmla="*/ 0 h 1441"/>
              </a:gdLst>
              <a:ahLst/>
              <a:cxnLst>
                <a:cxn ang="0">
                  <a:pos x="T0" y="T1"/>
                </a:cxn>
                <a:cxn ang="0">
                  <a:pos x="T2" y="T3"/>
                </a:cxn>
                <a:cxn ang="0">
                  <a:pos x="T4" y="T5"/>
                </a:cxn>
                <a:cxn ang="0">
                  <a:pos x="T6" y="T7"/>
                </a:cxn>
              </a:cxnLst>
              <a:rect l="0" t="0" r="r" b="b"/>
              <a:pathLst>
                <a:path w="1198" h="1441">
                  <a:moveTo>
                    <a:pt x="1198" y="0"/>
                  </a:moveTo>
                  <a:lnTo>
                    <a:pt x="0" y="1441"/>
                  </a:lnTo>
                  <a:lnTo>
                    <a:pt x="1198" y="1441"/>
                  </a:lnTo>
                  <a:lnTo>
                    <a:pt x="1198" y="0"/>
                  </a:lnTo>
                  <a:close/>
                </a:path>
              </a:pathLst>
            </a:custGeom>
            <a:solidFill>
              <a:schemeClr val="accent4"/>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11" name="Freeform 6">
              <a:extLst>
                <a:ext uri="{FF2B5EF4-FFF2-40B4-BE49-F238E27FC236}">
                  <a16:creationId xmlns:a16="http://schemas.microsoft.com/office/drawing/2014/main" id="{2EA39DB9-F1B4-F4E9-CF4D-717B0CD747DA}"/>
                </a:ext>
              </a:extLst>
            </p:cNvPr>
            <p:cNvSpPr>
              <a:spLocks/>
            </p:cNvSpPr>
            <p:nvPr/>
          </p:nvSpPr>
          <p:spPr bwMode="auto">
            <a:xfrm>
              <a:off x="8763903" y="2678112"/>
              <a:ext cx="3589695" cy="4332288"/>
            </a:xfrm>
            <a:custGeom>
              <a:avLst/>
              <a:gdLst>
                <a:gd name="T0" fmla="*/ 0 w 1194"/>
                <a:gd name="T1" fmla="*/ 0 h 1441"/>
                <a:gd name="T2" fmla="*/ 1194 w 1194"/>
                <a:gd name="T3" fmla="*/ 1441 h 1441"/>
                <a:gd name="T4" fmla="*/ 0 w 1194"/>
                <a:gd name="T5" fmla="*/ 1441 h 1441"/>
                <a:gd name="T6" fmla="*/ 0 w 1194"/>
                <a:gd name="T7" fmla="*/ 0 h 1441"/>
              </a:gdLst>
              <a:ahLst/>
              <a:cxnLst>
                <a:cxn ang="0">
                  <a:pos x="T0" y="T1"/>
                </a:cxn>
                <a:cxn ang="0">
                  <a:pos x="T2" y="T3"/>
                </a:cxn>
                <a:cxn ang="0">
                  <a:pos x="T4" y="T5"/>
                </a:cxn>
                <a:cxn ang="0">
                  <a:pos x="T6" y="T7"/>
                </a:cxn>
              </a:cxnLst>
              <a:rect l="0" t="0" r="r" b="b"/>
              <a:pathLst>
                <a:path w="1194" h="1441">
                  <a:moveTo>
                    <a:pt x="0" y="0"/>
                  </a:moveTo>
                  <a:lnTo>
                    <a:pt x="1194" y="1441"/>
                  </a:lnTo>
                  <a:lnTo>
                    <a:pt x="0" y="1441"/>
                  </a:lnTo>
                  <a:lnTo>
                    <a:pt x="0" y="0"/>
                  </a:lnTo>
                  <a:close/>
                </a:path>
              </a:pathLst>
            </a:custGeom>
            <a:solidFill>
              <a:schemeClr val="accent5"/>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14" name="Image 2" descr="preencoded.png">
            <a:extLst>
              <a:ext uri="{FF2B5EF4-FFF2-40B4-BE49-F238E27FC236}">
                <a16:creationId xmlns:a16="http://schemas.microsoft.com/office/drawing/2014/main" id="{EFFAEAD9-58A9-096B-C6D0-58F7AD08EB20}"/>
              </a:ext>
            </a:extLst>
          </p:cNvPr>
          <p:cNvSpPr/>
          <p:nvPr/>
        </p:nvSpPr>
        <p:spPr>
          <a:xfrm>
            <a:off x="7642518" y="4577658"/>
            <a:ext cx="775021" cy="775021"/>
          </a:xfrm>
          <a:custGeom>
            <a:avLst/>
            <a:gdLst>
              <a:gd name="connsiteX0" fmla="*/ 387511 w 775021"/>
              <a:gd name="connsiteY0" fmla="*/ 775021 h 775021"/>
              <a:gd name="connsiteX1" fmla="*/ 775021 w 775021"/>
              <a:gd name="connsiteY1" fmla="*/ 387511 h 775021"/>
              <a:gd name="connsiteX2" fmla="*/ 387511 w 775021"/>
              <a:gd name="connsiteY2" fmla="*/ 0 h 775021"/>
              <a:gd name="connsiteX3" fmla="*/ 0 w 775021"/>
              <a:gd name="connsiteY3" fmla="*/ 387511 h 775021"/>
              <a:gd name="connsiteX4" fmla="*/ 387511 w 775021"/>
              <a:gd name="connsiteY4" fmla="*/ 775021 h 775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5021" h="775021">
                <a:moveTo>
                  <a:pt x="387511" y="775021"/>
                </a:moveTo>
                <a:cubicBezTo>
                  <a:pt x="601527" y="775021"/>
                  <a:pt x="775021" y="601527"/>
                  <a:pt x="775021" y="387511"/>
                </a:cubicBezTo>
                <a:cubicBezTo>
                  <a:pt x="775021" y="173494"/>
                  <a:pt x="601527" y="0"/>
                  <a:pt x="387511" y="0"/>
                </a:cubicBezTo>
                <a:cubicBezTo>
                  <a:pt x="173494" y="0"/>
                  <a:pt x="0" y="173494"/>
                  <a:pt x="0" y="387511"/>
                </a:cubicBezTo>
                <a:cubicBezTo>
                  <a:pt x="0" y="601527"/>
                  <a:pt x="173494" y="775021"/>
                  <a:pt x="387511" y="775021"/>
                </a:cubicBezTo>
                <a:close/>
              </a:path>
            </a:pathLst>
          </a:custGeom>
          <a:solidFill>
            <a:schemeClr val="accent6"/>
          </a:solidFill>
          <a:ln w="3801" cap="flat">
            <a:noFill/>
            <a:prstDash val="solid"/>
            <a:miter/>
          </a:ln>
        </p:spPr>
        <p:txBody>
          <a:bodyPr rtlCol="0" anchor="ctr">
            <a:noAutofit/>
          </a:bodyPr>
          <a:lstStyle/>
          <a:p>
            <a:endParaRPr lang="en-US" dirty="0"/>
          </a:p>
        </p:txBody>
      </p:sp>
      <p:sp>
        <p:nvSpPr>
          <p:cNvPr id="2" name="Title 1">
            <a:extLst>
              <a:ext uri="{FF2B5EF4-FFF2-40B4-BE49-F238E27FC236}">
                <a16:creationId xmlns:a16="http://schemas.microsoft.com/office/drawing/2014/main" id="{9A1CFBBA-B680-A6A7-3C4B-5FEAC4253283}"/>
              </a:ext>
            </a:extLst>
          </p:cNvPr>
          <p:cNvSpPr>
            <a:spLocks noGrp="1"/>
          </p:cNvSpPr>
          <p:nvPr>
            <p:ph type="title"/>
          </p:nvPr>
        </p:nvSpPr>
        <p:spPr>
          <a:xfrm>
            <a:off x="1499616" y="1901952"/>
            <a:ext cx="5693664" cy="768096"/>
          </a:xfrm>
        </p:spPr>
        <p:txBody>
          <a:bodyPr>
            <a:noAutofit/>
          </a:bodyPr>
          <a:lstStyle>
            <a:lvl1pPr algn="l">
              <a:lnSpc>
                <a:spcPct val="100000"/>
              </a:lnSpc>
              <a:defRPr/>
            </a:lvl1pPr>
          </a:lstStyle>
          <a:p>
            <a:r>
              <a:rPr lang="en-US" dirty="0"/>
              <a:t>Click to edit Master title style</a:t>
            </a:r>
          </a:p>
        </p:txBody>
      </p:sp>
      <p:sp>
        <p:nvSpPr>
          <p:cNvPr id="13" name="Content Placeholder 2">
            <a:extLst>
              <a:ext uri="{FF2B5EF4-FFF2-40B4-BE49-F238E27FC236}">
                <a16:creationId xmlns:a16="http://schemas.microsoft.com/office/drawing/2014/main" id="{72386C43-DD10-E892-08AD-D6F4AE9617DD}"/>
              </a:ext>
            </a:extLst>
          </p:cNvPr>
          <p:cNvSpPr>
            <a:spLocks noGrp="1"/>
          </p:cNvSpPr>
          <p:nvPr>
            <p:ph idx="1"/>
          </p:nvPr>
        </p:nvSpPr>
        <p:spPr>
          <a:xfrm>
            <a:off x="1499616" y="2770632"/>
            <a:ext cx="5693664" cy="3122168"/>
          </a:xfrm>
        </p:spPr>
        <p:txBody>
          <a:bodyPr>
            <a:noAutofit/>
          </a:bodyPr>
          <a:lstStyle>
            <a:lvl1pPr marL="0" indent="0">
              <a:lnSpc>
                <a:spcPct val="150000"/>
              </a:lnSpc>
              <a:spcBef>
                <a:spcPts val="0"/>
              </a:spcBef>
              <a:buNone/>
              <a:defRPr sz="2400"/>
            </a:lvl1pPr>
            <a:lvl2pPr marL="347472">
              <a:lnSpc>
                <a:spcPct val="150000"/>
              </a:lnSpc>
              <a:spcBef>
                <a:spcPts val="0"/>
              </a:spcBef>
              <a:defRPr sz="2000"/>
            </a:lvl2pPr>
            <a:lvl3pPr marL="685800">
              <a:lnSpc>
                <a:spcPct val="150000"/>
              </a:lnSpc>
              <a:spcBef>
                <a:spcPts val="0"/>
              </a:spcBef>
              <a:defRPr sz="1800"/>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94779263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obj" preserve="1">
  <p:cSld name="Introduction">
    <p:spTree>
      <p:nvGrpSpPr>
        <p:cNvPr id="1" name=""/>
        <p:cNvGrpSpPr/>
        <p:nvPr/>
      </p:nvGrpSpPr>
      <p:grpSpPr>
        <a:xfrm>
          <a:off x="0" y="0"/>
          <a:ext cx="0" cy="0"/>
          <a:chOff x="0" y="0"/>
          <a:chExt cx="0" cy="0"/>
        </a:xfrm>
      </p:grpSpPr>
      <p:sp>
        <p:nvSpPr>
          <p:cNvPr id="23" name="Freeform: Shape 22">
            <a:extLst>
              <a:ext uri="{FF2B5EF4-FFF2-40B4-BE49-F238E27FC236}">
                <a16:creationId xmlns:a16="http://schemas.microsoft.com/office/drawing/2014/main" id="{C35EFB42-020B-1DF4-3D42-26092CE45F08}"/>
              </a:ext>
            </a:extLst>
          </p:cNvPr>
          <p:cNvSpPr/>
          <p:nvPr userDrawn="1"/>
        </p:nvSpPr>
        <p:spPr>
          <a:xfrm>
            <a:off x="0" y="3427336"/>
            <a:ext cx="3430200" cy="3430665"/>
          </a:xfrm>
          <a:custGeom>
            <a:avLst/>
            <a:gdLst>
              <a:gd name="connsiteX0" fmla="*/ 0 w 3430200"/>
              <a:gd name="connsiteY0" fmla="*/ 0 h 3430665"/>
              <a:gd name="connsiteX1" fmla="*/ 3430200 w 3430200"/>
              <a:gd name="connsiteY1" fmla="*/ 0 h 3430665"/>
              <a:gd name="connsiteX2" fmla="*/ 3430200 w 3430200"/>
              <a:gd name="connsiteY2" fmla="*/ 3430665 h 3430665"/>
              <a:gd name="connsiteX3" fmla="*/ 0 w 3430200"/>
              <a:gd name="connsiteY3" fmla="*/ 3430665 h 3430665"/>
            </a:gdLst>
            <a:ahLst/>
            <a:cxnLst>
              <a:cxn ang="0">
                <a:pos x="connsiteX0" y="connsiteY0"/>
              </a:cxn>
              <a:cxn ang="0">
                <a:pos x="connsiteX1" y="connsiteY1"/>
              </a:cxn>
              <a:cxn ang="0">
                <a:pos x="connsiteX2" y="connsiteY2"/>
              </a:cxn>
              <a:cxn ang="0">
                <a:pos x="connsiteX3" y="connsiteY3"/>
              </a:cxn>
            </a:cxnLst>
            <a:rect l="l" t="t" r="r" b="b"/>
            <a:pathLst>
              <a:path w="3430200" h="3430665">
                <a:moveTo>
                  <a:pt x="0" y="0"/>
                </a:moveTo>
                <a:lnTo>
                  <a:pt x="3430200" y="0"/>
                </a:lnTo>
                <a:lnTo>
                  <a:pt x="3430200" y="3430665"/>
                </a:lnTo>
                <a:lnTo>
                  <a:pt x="0" y="3430665"/>
                </a:ln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pPr lvl="0"/>
            <a:endParaRPr lang="en-US" dirty="0">
              <a:solidFill>
                <a:schemeClr val="tx1"/>
              </a:solidFill>
            </a:endParaRPr>
          </a:p>
        </p:txBody>
      </p:sp>
      <p:sp>
        <p:nvSpPr>
          <p:cNvPr id="20" name="Freeform: Shape 19">
            <a:extLst>
              <a:ext uri="{FF2B5EF4-FFF2-40B4-BE49-F238E27FC236}">
                <a16:creationId xmlns:a16="http://schemas.microsoft.com/office/drawing/2014/main" id="{AB4DD322-D1E0-74CB-BBFF-057426E58EBC}"/>
              </a:ext>
            </a:extLst>
          </p:cNvPr>
          <p:cNvSpPr/>
          <p:nvPr userDrawn="1"/>
        </p:nvSpPr>
        <p:spPr>
          <a:xfrm>
            <a:off x="0" y="3427336"/>
            <a:ext cx="3430200" cy="3430665"/>
          </a:xfrm>
          <a:custGeom>
            <a:avLst/>
            <a:gdLst>
              <a:gd name="connsiteX0" fmla="*/ 3430200 w 3430200"/>
              <a:gd name="connsiteY0" fmla="*/ 0 h 3430665"/>
              <a:gd name="connsiteX1" fmla="*/ 3430200 w 3430200"/>
              <a:gd name="connsiteY1" fmla="*/ 3430665 h 3430665"/>
              <a:gd name="connsiteX2" fmla="*/ 0 w 3430200"/>
              <a:gd name="connsiteY2" fmla="*/ 3430665 h 3430665"/>
              <a:gd name="connsiteX3" fmla="*/ 0 w 3430200"/>
              <a:gd name="connsiteY3" fmla="*/ 3417531 h 3430665"/>
            </a:gdLst>
            <a:ahLst/>
            <a:cxnLst>
              <a:cxn ang="0">
                <a:pos x="connsiteX0" y="connsiteY0"/>
              </a:cxn>
              <a:cxn ang="0">
                <a:pos x="connsiteX1" y="connsiteY1"/>
              </a:cxn>
              <a:cxn ang="0">
                <a:pos x="connsiteX2" y="connsiteY2"/>
              </a:cxn>
              <a:cxn ang="0">
                <a:pos x="connsiteX3" y="connsiteY3"/>
              </a:cxn>
            </a:cxnLst>
            <a:rect l="l" t="t" r="r" b="b"/>
            <a:pathLst>
              <a:path w="3430200" h="3430665">
                <a:moveTo>
                  <a:pt x="3430200" y="0"/>
                </a:moveTo>
                <a:lnTo>
                  <a:pt x="3430200" y="3430665"/>
                </a:lnTo>
                <a:lnTo>
                  <a:pt x="0" y="3430665"/>
                </a:lnTo>
                <a:lnTo>
                  <a:pt x="0" y="3417531"/>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lvl="0"/>
            <a:endParaRPr lang="en-US" dirty="0">
              <a:solidFill>
                <a:schemeClr val="tx1"/>
              </a:solidFill>
            </a:endParaRPr>
          </a:p>
        </p:txBody>
      </p:sp>
      <p:sp>
        <p:nvSpPr>
          <p:cNvPr id="14" name="Freeform: Shape 13">
            <a:extLst>
              <a:ext uri="{FF2B5EF4-FFF2-40B4-BE49-F238E27FC236}">
                <a16:creationId xmlns:a16="http://schemas.microsoft.com/office/drawing/2014/main" id="{C11D3FCE-EC92-8558-A3E5-04DB12477A3B}"/>
              </a:ext>
            </a:extLst>
          </p:cNvPr>
          <p:cNvSpPr/>
          <p:nvPr userDrawn="1"/>
        </p:nvSpPr>
        <p:spPr>
          <a:xfrm>
            <a:off x="1" y="1"/>
            <a:ext cx="3423785" cy="3437345"/>
          </a:xfrm>
          <a:custGeom>
            <a:avLst/>
            <a:gdLst>
              <a:gd name="connsiteX0" fmla="*/ 0 w 3423785"/>
              <a:gd name="connsiteY0" fmla="*/ 0 h 3437345"/>
              <a:gd name="connsiteX1" fmla="*/ 3423785 w 3423785"/>
              <a:gd name="connsiteY1" fmla="*/ 0 h 3437345"/>
              <a:gd name="connsiteX2" fmla="*/ 3423785 w 3423785"/>
              <a:gd name="connsiteY2" fmla="*/ 3437345 h 3437345"/>
              <a:gd name="connsiteX3" fmla="*/ 0 w 3423785"/>
              <a:gd name="connsiteY3" fmla="*/ 3437345 h 3437345"/>
            </a:gdLst>
            <a:ahLst/>
            <a:cxnLst>
              <a:cxn ang="0">
                <a:pos x="connsiteX0" y="connsiteY0"/>
              </a:cxn>
              <a:cxn ang="0">
                <a:pos x="connsiteX1" y="connsiteY1"/>
              </a:cxn>
              <a:cxn ang="0">
                <a:pos x="connsiteX2" y="connsiteY2"/>
              </a:cxn>
              <a:cxn ang="0">
                <a:pos x="connsiteX3" y="connsiteY3"/>
              </a:cxn>
            </a:cxnLst>
            <a:rect l="l" t="t" r="r" b="b"/>
            <a:pathLst>
              <a:path w="3423785" h="3437345">
                <a:moveTo>
                  <a:pt x="0" y="0"/>
                </a:moveTo>
                <a:lnTo>
                  <a:pt x="3423785" y="0"/>
                </a:lnTo>
                <a:lnTo>
                  <a:pt x="3423785" y="3437345"/>
                </a:lnTo>
                <a:lnTo>
                  <a:pt x="0" y="3437345"/>
                </a:lnTo>
                <a:close/>
              </a:path>
            </a:pathLst>
          </a:custGeom>
          <a:solidFill>
            <a:schemeClr val="accent5"/>
          </a:solidFill>
          <a:ln>
            <a:noFill/>
          </a:ln>
        </p:spPr>
        <p:txBody>
          <a:bodyPr vert="horz" wrap="square" lIns="91440" tIns="45720" rIns="91440" bIns="45720" numCol="1" anchor="t" anchorCtr="0" compatLnSpc="1">
            <a:prstTxWarp prst="textNoShape">
              <a:avLst/>
            </a:prstTxWarp>
            <a:noAutofit/>
          </a:bodyPr>
          <a:lstStyle/>
          <a:p>
            <a:pPr lvl="0"/>
            <a:endParaRPr lang="en-US" dirty="0">
              <a:solidFill>
                <a:schemeClr val="tx1"/>
              </a:solidFill>
            </a:endParaRPr>
          </a:p>
        </p:txBody>
      </p:sp>
      <p:sp>
        <p:nvSpPr>
          <p:cNvPr id="2" name="Title 1"/>
          <p:cNvSpPr>
            <a:spLocks noGrp="1"/>
          </p:cNvSpPr>
          <p:nvPr userDrawn="1">
            <p:ph type="title"/>
          </p:nvPr>
        </p:nvSpPr>
        <p:spPr>
          <a:xfrm>
            <a:off x="4224528" y="2276856"/>
            <a:ext cx="6766560" cy="768096"/>
          </a:xfrm>
        </p:spPr>
        <p:txBody>
          <a:bodyPr>
            <a:noAutofit/>
          </a:bodyPr>
          <a:lstStyle>
            <a:lvl1pPr algn="l">
              <a:lnSpc>
                <a:spcPct val="100000"/>
              </a:lnSpc>
              <a:defRPr b="1"/>
            </a:lvl1pPr>
          </a:lstStyle>
          <a:p>
            <a:r>
              <a:rPr lang="en-US" dirty="0"/>
              <a:t>Click to edit Master title style</a:t>
            </a:r>
          </a:p>
        </p:txBody>
      </p:sp>
      <p:sp>
        <p:nvSpPr>
          <p:cNvPr id="3" name="Content Placeholder 2"/>
          <p:cNvSpPr>
            <a:spLocks noGrp="1"/>
          </p:cNvSpPr>
          <p:nvPr userDrawn="1">
            <p:ph idx="1"/>
          </p:nvPr>
        </p:nvSpPr>
        <p:spPr>
          <a:xfrm>
            <a:off x="4224528" y="3222752"/>
            <a:ext cx="6766560" cy="2700528"/>
          </a:xfrm>
        </p:spPr>
        <p:txBody>
          <a:bodyPr>
            <a:noAutofit/>
          </a:bodyPr>
          <a:lstStyle>
            <a:lvl1pPr marL="0" indent="0">
              <a:buNone/>
              <a:defRPr sz="1500"/>
            </a:lvl1pPr>
            <a:lvl2pPr>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userDrawn="1">
            <p:ph type="ftr" sz="quarter" idx="11"/>
          </p:nvPr>
        </p:nvSpPr>
        <p:spPr>
          <a:xfrm>
            <a:off x="4224528" y="457200"/>
            <a:ext cx="3200400" cy="274320"/>
          </a:xfrm>
        </p:spPr>
        <p:txBody>
          <a:bodyPr>
            <a:noAutofit/>
          </a:bodyPr>
          <a:lstStyle/>
          <a:p>
            <a:r>
              <a:rPr lang="en-US"/>
              <a:t>Presentation title</a:t>
            </a:r>
            <a:endParaRPr lang="en-US" dirty="0"/>
          </a:p>
        </p:txBody>
      </p:sp>
      <p:sp>
        <p:nvSpPr>
          <p:cNvPr id="6" name="Slide Number Placeholder 5"/>
          <p:cNvSpPr>
            <a:spLocks noGrp="1"/>
          </p:cNvSpPr>
          <p:nvPr userDrawn="1">
            <p:ph type="sldNum" sz="quarter" idx="12"/>
          </p:nvPr>
        </p:nvSpPr>
        <p:spPr/>
        <p:txBody>
          <a:bodyPr>
            <a:noAutofit/>
          </a:bodyPr>
          <a:lstStyle/>
          <a:p>
            <a:fld id="{48F63A3B-78C7-47BE-AE5E-E10140E04643}" type="slidenum">
              <a:rPr lang="en-US" dirty="0"/>
              <a:t>‹#›</a:t>
            </a:fld>
            <a:endParaRPr lang="en-US" dirty="0"/>
          </a:p>
        </p:txBody>
      </p:sp>
      <p:sp>
        <p:nvSpPr>
          <p:cNvPr id="17" name="Freeform: Shape 16">
            <a:extLst>
              <a:ext uri="{FF2B5EF4-FFF2-40B4-BE49-F238E27FC236}">
                <a16:creationId xmlns:a16="http://schemas.microsoft.com/office/drawing/2014/main" id="{217CBC9E-B934-828F-2AE5-211CEF5B1D25}"/>
              </a:ext>
            </a:extLst>
          </p:cNvPr>
          <p:cNvSpPr/>
          <p:nvPr userDrawn="1"/>
        </p:nvSpPr>
        <p:spPr>
          <a:xfrm>
            <a:off x="1" y="869"/>
            <a:ext cx="3423785" cy="3436477"/>
          </a:xfrm>
          <a:custGeom>
            <a:avLst/>
            <a:gdLst>
              <a:gd name="connsiteX0" fmla="*/ 0 w 3423785"/>
              <a:gd name="connsiteY0" fmla="*/ 0 h 3436477"/>
              <a:gd name="connsiteX1" fmla="*/ 3423785 w 3423785"/>
              <a:gd name="connsiteY1" fmla="*/ 3436477 h 3436477"/>
              <a:gd name="connsiteX2" fmla="*/ 0 w 3423785"/>
              <a:gd name="connsiteY2" fmla="*/ 3436477 h 3436477"/>
            </a:gdLst>
            <a:ahLst/>
            <a:cxnLst>
              <a:cxn ang="0">
                <a:pos x="connsiteX0" y="connsiteY0"/>
              </a:cxn>
              <a:cxn ang="0">
                <a:pos x="connsiteX1" y="connsiteY1"/>
              </a:cxn>
              <a:cxn ang="0">
                <a:pos x="connsiteX2" y="connsiteY2"/>
              </a:cxn>
            </a:cxnLst>
            <a:rect l="l" t="t" r="r" b="b"/>
            <a:pathLst>
              <a:path w="3423785" h="3436477">
                <a:moveTo>
                  <a:pt x="0" y="0"/>
                </a:moveTo>
                <a:lnTo>
                  <a:pt x="3423785" y="3436477"/>
                </a:lnTo>
                <a:lnTo>
                  <a:pt x="0" y="3436477"/>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lvl="0"/>
            <a:endParaRPr lang="en-US" dirty="0">
              <a:solidFill>
                <a:schemeClr val="tx1"/>
              </a:solidFill>
            </a:endParaRPr>
          </a:p>
        </p:txBody>
      </p:sp>
    </p:spTree>
    <p:extLst>
      <p:ext uri="{BB962C8B-B14F-4D97-AF65-F5344CB8AC3E}">
        <p14:creationId xmlns:p14="http://schemas.microsoft.com/office/powerpoint/2010/main" val="91663204"/>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34" name="Freeform: Shape 33">
            <a:extLst>
              <a:ext uri="{FF2B5EF4-FFF2-40B4-BE49-F238E27FC236}">
                <a16:creationId xmlns:a16="http://schemas.microsoft.com/office/drawing/2014/main" id="{3D352B04-96E6-839B-9D92-EE98385C4D49}"/>
              </a:ext>
            </a:extLst>
          </p:cNvPr>
          <p:cNvSpPr/>
          <p:nvPr userDrawn="1"/>
        </p:nvSpPr>
        <p:spPr>
          <a:xfrm>
            <a:off x="2062836" y="686475"/>
            <a:ext cx="7774629" cy="6193018"/>
          </a:xfrm>
          <a:custGeom>
            <a:avLst/>
            <a:gdLst>
              <a:gd name="connsiteX0" fmla="*/ 3887320 w 7774629"/>
              <a:gd name="connsiteY0" fmla="*/ 0 h 6193018"/>
              <a:gd name="connsiteX1" fmla="*/ 7774629 w 7774629"/>
              <a:gd name="connsiteY1" fmla="*/ 3884811 h 6193018"/>
              <a:gd name="connsiteX2" fmla="*/ 7774629 w 7774629"/>
              <a:gd name="connsiteY2" fmla="*/ 6193018 h 6193018"/>
              <a:gd name="connsiteX3" fmla="*/ 0 w 7774629"/>
              <a:gd name="connsiteY3" fmla="*/ 6193018 h 6193018"/>
              <a:gd name="connsiteX4" fmla="*/ 0 w 7774629"/>
              <a:gd name="connsiteY4" fmla="*/ 3884811 h 6193018"/>
              <a:gd name="connsiteX5" fmla="*/ 3887320 w 7774629"/>
              <a:gd name="connsiteY5" fmla="*/ 0 h 619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74629" h="6193018">
                <a:moveTo>
                  <a:pt x="3887320" y="0"/>
                </a:moveTo>
                <a:cubicBezTo>
                  <a:pt x="6034243" y="0"/>
                  <a:pt x="7774629" y="1739299"/>
                  <a:pt x="7774629" y="3884811"/>
                </a:cubicBezTo>
                <a:lnTo>
                  <a:pt x="7774629" y="6193018"/>
                </a:lnTo>
                <a:lnTo>
                  <a:pt x="0" y="6193018"/>
                </a:lnTo>
                <a:lnTo>
                  <a:pt x="0" y="3884811"/>
                </a:lnTo>
                <a:cubicBezTo>
                  <a:pt x="0" y="1739299"/>
                  <a:pt x="1740414" y="0"/>
                  <a:pt x="3887320" y="0"/>
                </a:cubicBezTo>
                <a:close/>
              </a:path>
            </a:pathLst>
          </a:custGeom>
          <a:solidFill>
            <a:schemeClr val="accent2">
              <a:lumMod val="20000"/>
              <a:lumOff val="80000"/>
              <a:alpha val="99000"/>
            </a:schemeClr>
          </a:solidFill>
          <a:ln w="5439"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dirty="0">
              <a:solidFill>
                <a:schemeClr val="tx1"/>
              </a:solidFill>
            </a:endParaRPr>
          </a:p>
        </p:txBody>
      </p:sp>
      <p:sp>
        <p:nvSpPr>
          <p:cNvPr id="46" name="Freeform: Shape 45">
            <a:extLst>
              <a:ext uri="{FF2B5EF4-FFF2-40B4-BE49-F238E27FC236}">
                <a16:creationId xmlns:a16="http://schemas.microsoft.com/office/drawing/2014/main" id="{723D98FB-5EB7-A8DF-8470-B23A80D669E4}"/>
              </a:ext>
            </a:extLst>
          </p:cNvPr>
          <p:cNvSpPr/>
          <p:nvPr userDrawn="1"/>
        </p:nvSpPr>
        <p:spPr>
          <a:xfrm>
            <a:off x="7610252" y="1"/>
            <a:ext cx="2273668" cy="3147998"/>
          </a:xfrm>
          <a:custGeom>
            <a:avLst/>
            <a:gdLst>
              <a:gd name="connsiteX0" fmla="*/ 183295 w 2273668"/>
              <a:gd name="connsiteY0" fmla="*/ 0 h 3147998"/>
              <a:gd name="connsiteX1" fmla="*/ 2273668 w 2273668"/>
              <a:gd name="connsiteY1" fmla="*/ 0 h 3147998"/>
              <a:gd name="connsiteX2" fmla="*/ 2273668 w 2273668"/>
              <a:gd name="connsiteY2" fmla="*/ 3147998 h 3147998"/>
              <a:gd name="connsiteX3" fmla="*/ 2096300 w 2273668"/>
              <a:gd name="connsiteY3" fmla="*/ 3147998 h 3147998"/>
              <a:gd name="connsiteX4" fmla="*/ 2033714 w 2273668"/>
              <a:gd name="connsiteY4" fmla="*/ 3144814 h 3147998"/>
              <a:gd name="connsiteX5" fmla="*/ 0 w 2273668"/>
              <a:gd name="connsiteY5" fmla="*/ 886966 h 3147998"/>
              <a:gd name="connsiteX6" fmla="*/ 178732 w 2273668"/>
              <a:gd name="connsiteY6" fmla="*/ 9417 h 314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73668" h="3147998">
                <a:moveTo>
                  <a:pt x="183295" y="0"/>
                </a:moveTo>
                <a:lnTo>
                  <a:pt x="2273668" y="0"/>
                </a:lnTo>
                <a:lnTo>
                  <a:pt x="2273668" y="3147998"/>
                </a:lnTo>
                <a:lnTo>
                  <a:pt x="2096300" y="3147998"/>
                </a:lnTo>
                <a:lnTo>
                  <a:pt x="2033714" y="3144814"/>
                </a:lnTo>
                <a:cubicBezTo>
                  <a:pt x="895944" y="3028420"/>
                  <a:pt x="0" y="2060597"/>
                  <a:pt x="0" y="886966"/>
                </a:cubicBezTo>
                <a:cubicBezTo>
                  <a:pt x="0" y="576250"/>
                  <a:pt x="63712" y="279606"/>
                  <a:pt x="178732" y="9417"/>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pPr lvl="0"/>
            <a:endParaRPr lang="en-US" dirty="0">
              <a:solidFill>
                <a:schemeClr val="tx1"/>
              </a:solidFill>
            </a:endParaRPr>
          </a:p>
        </p:txBody>
      </p:sp>
      <p:sp>
        <p:nvSpPr>
          <p:cNvPr id="43" name="Freeform: Shape 42">
            <a:extLst>
              <a:ext uri="{FF2B5EF4-FFF2-40B4-BE49-F238E27FC236}">
                <a16:creationId xmlns:a16="http://schemas.microsoft.com/office/drawing/2014/main" id="{4550F3CE-BAE9-3916-42CA-F4D906FA5173}"/>
              </a:ext>
            </a:extLst>
          </p:cNvPr>
          <p:cNvSpPr/>
          <p:nvPr userDrawn="1"/>
        </p:nvSpPr>
        <p:spPr>
          <a:xfrm>
            <a:off x="9883919" y="2"/>
            <a:ext cx="2254928" cy="3141557"/>
          </a:xfrm>
          <a:custGeom>
            <a:avLst/>
            <a:gdLst>
              <a:gd name="connsiteX0" fmla="*/ 0 w 2254928"/>
              <a:gd name="connsiteY0" fmla="*/ 0 h 3141557"/>
              <a:gd name="connsiteX1" fmla="*/ 2080472 w 2254928"/>
              <a:gd name="connsiteY1" fmla="*/ 0 h 3141557"/>
              <a:gd name="connsiteX2" fmla="*/ 2154269 w 2254928"/>
              <a:gd name="connsiteY2" fmla="*/ 202607 h 3141557"/>
              <a:gd name="connsiteX3" fmla="*/ 2254928 w 2254928"/>
              <a:gd name="connsiteY3" fmla="*/ 871976 h 3141557"/>
              <a:gd name="connsiteX4" fmla="*/ 231934 w 2254928"/>
              <a:gd name="connsiteY4" fmla="*/ 3128339 h 3141557"/>
              <a:gd name="connsiteX5" fmla="*/ 19 w 2254928"/>
              <a:gd name="connsiteY5" fmla="*/ 3141557 h 3141557"/>
              <a:gd name="connsiteX6" fmla="*/ 0 w 2254928"/>
              <a:gd name="connsiteY6" fmla="*/ 3141557 h 3141557"/>
              <a:gd name="connsiteX7" fmla="*/ 0 w 2254928"/>
              <a:gd name="connsiteY7" fmla="*/ 2729990 h 3141557"/>
              <a:gd name="connsiteX8" fmla="*/ 0 w 2254928"/>
              <a:gd name="connsiteY8" fmla="*/ 2344136 h 3141557"/>
              <a:gd name="connsiteX9" fmla="*/ 0 w 2254928"/>
              <a:gd name="connsiteY9" fmla="*/ 1983167 h 3141557"/>
              <a:gd name="connsiteX10" fmla="*/ 0 w 2254928"/>
              <a:gd name="connsiteY10" fmla="*/ 1646252 h 3141557"/>
              <a:gd name="connsiteX11" fmla="*/ 0 w 2254928"/>
              <a:gd name="connsiteY11" fmla="*/ 1332565 h 3141557"/>
              <a:gd name="connsiteX12" fmla="*/ 0 w 2254928"/>
              <a:gd name="connsiteY12" fmla="*/ 1041273 h 3141557"/>
              <a:gd name="connsiteX13" fmla="*/ 0 w 2254928"/>
              <a:gd name="connsiteY13" fmla="*/ 771549 h 3141557"/>
              <a:gd name="connsiteX14" fmla="*/ 0 w 2254928"/>
              <a:gd name="connsiteY14" fmla="*/ 522561 h 3141557"/>
              <a:gd name="connsiteX15" fmla="*/ 0 w 2254928"/>
              <a:gd name="connsiteY15" fmla="*/ 293482 h 3141557"/>
              <a:gd name="connsiteX16" fmla="*/ 0 w 2254928"/>
              <a:gd name="connsiteY16" fmla="*/ 83481 h 3141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54928" h="3141557">
                <a:moveTo>
                  <a:pt x="0" y="0"/>
                </a:moveTo>
                <a:lnTo>
                  <a:pt x="2080472" y="0"/>
                </a:lnTo>
                <a:lnTo>
                  <a:pt x="2154269" y="202607"/>
                </a:lnTo>
                <a:cubicBezTo>
                  <a:pt x="2219730" y="414134"/>
                  <a:pt x="2254928" y="638939"/>
                  <a:pt x="2254928" y="871976"/>
                </a:cubicBezTo>
                <a:cubicBezTo>
                  <a:pt x="2254928" y="2045607"/>
                  <a:pt x="1374977" y="3005515"/>
                  <a:pt x="231934" y="3128339"/>
                </a:cubicBezTo>
                <a:lnTo>
                  <a:pt x="19" y="3141557"/>
                </a:lnTo>
                <a:lnTo>
                  <a:pt x="0" y="3141557"/>
                </a:lnTo>
                <a:lnTo>
                  <a:pt x="0" y="2729990"/>
                </a:lnTo>
                <a:lnTo>
                  <a:pt x="0" y="2344136"/>
                </a:lnTo>
                <a:lnTo>
                  <a:pt x="0" y="1983167"/>
                </a:lnTo>
                <a:lnTo>
                  <a:pt x="0" y="1646252"/>
                </a:lnTo>
                <a:lnTo>
                  <a:pt x="0" y="1332565"/>
                </a:lnTo>
                <a:lnTo>
                  <a:pt x="0" y="1041273"/>
                </a:lnTo>
                <a:lnTo>
                  <a:pt x="0" y="771549"/>
                </a:lnTo>
                <a:lnTo>
                  <a:pt x="0" y="522561"/>
                </a:lnTo>
                <a:lnTo>
                  <a:pt x="0" y="293482"/>
                </a:lnTo>
                <a:lnTo>
                  <a:pt x="0" y="83481"/>
                </a:lnTo>
                <a:close/>
              </a:path>
            </a:pathLst>
          </a:custGeom>
          <a:solidFill>
            <a:schemeClr val="accent6"/>
          </a:solidFill>
          <a:ln>
            <a:noFill/>
          </a:ln>
        </p:spPr>
        <p:txBody>
          <a:bodyPr vert="horz" wrap="square" lIns="91440" tIns="45720" rIns="91440" bIns="45720" numCol="1" anchor="t" anchorCtr="0" compatLnSpc="1">
            <a:prstTxWarp prst="textNoShape">
              <a:avLst/>
            </a:prstTxWarp>
            <a:noAutofit/>
          </a:bodyPr>
          <a:lstStyle/>
          <a:p>
            <a:pPr lvl="0"/>
            <a:endParaRPr lang="en-US" dirty="0">
              <a:solidFill>
                <a:schemeClr val="tx1"/>
              </a:solidFill>
            </a:endParaRPr>
          </a:p>
        </p:txBody>
      </p:sp>
      <p:sp>
        <p:nvSpPr>
          <p:cNvPr id="49" name="Freeform: Shape 48">
            <a:extLst>
              <a:ext uri="{FF2B5EF4-FFF2-40B4-BE49-F238E27FC236}">
                <a16:creationId xmlns:a16="http://schemas.microsoft.com/office/drawing/2014/main" id="{D83F65A0-0C52-48AD-DC5D-B5D3BF3CC188}"/>
              </a:ext>
            </a:extLst>
          </p:cNvPr>
          <p:cNvSpPr/>
          <p:nvPr userDrawn="1"/>
        </p:nvSpPr>
        <p:spPr>
          <a:xfrm>
            <a:off x="8395730" y="2"/>
            <a:ext cx="2959203" cy="2352793"/>
          </a:xfrm>
          <a:custGeom>
            <a:avLst/>
            <a:gdLst>
              <a:gd name="connsiteX0" fmla="*/ 289830 w 2959203"/>
              <a:gd name="connsiteY0" fmla="*/ 0 h 2352793"/>
              <a:gd name="connsiteX1" fmla="*/ 2669374 w 2959203"/>
              <a:gd name="connsiteY1" fmla="*/ 0 h 2352793"/>
              <a:gd name="connsiteX2" fmla="*/ 2706511 w 2959203"/>
              <a:gd name="connsiteY2" fmla="*/ 49584 h 2352793"/>
              <a:gd name="connsiteX3" fmla="*/ 2951565 w 2959203"/>
              <a:gd name="connsiteY3" fmla="*/ 724493 h 2352793"/>
              <a:gd name="connsiteX4" fmla="*/ 2959203 w 2959203"/>
              <a:gd name="connsiteY4" fmla="*/ 875514 h 2352793"/>
              <a:gd name="connsiteX5" fmla="*/ 2959203 w 2959203"/>
              <a:gd name="connsiteY5" fmla="*/ 875554 h 2352793"/>
              <a:gd name="connsiteX6" fmla="*/ 2951565 w 2959203"/>
              <a:gd name="connsiteY6" fmla="*/ 1026575 h 2352793"/>
              <a:gd name="connsiteX7" fmla="*/ 1479602 w 2959203"/>
              <a:gd name="connsiteY7" fmla="*/ 2352793 h 2352793"/>
              <a:gd name="connsiteX8" fmla="*/ 0 w 2959203"/>
              <a:gd name="connsiteY8" fmla="*/ 875534 h 2352793"/>
              <a:gd name="connsiteX9" fmla="*/ 252694 w 2959203"/>
              <a:gd name="connsiteY9" fmla="*/ 49584 h 2352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59203" h="2352793">
                <a:moveTo>
                  <a:pt x="289830" y="0"/>
                </a:moveTo>
                <a:lnTo>
                  <a:pt x="2669374" y="0"/>
                </a:lnTo>
                <a:lnTo>
                  <a:pt x="2706511" y="49584"/>
                </a:lnTo>
                <a:cubicBezTo>
                  <a:pt x="2839459" y="246061"/>
                  <a:pt x="2926309" y="476187"/>
                  <a:pt x="2951565" y="724493"/>
                </a:cubicBezTo>
                <a:lnTo>
                  <a:pt x="2959203" y="875514"/>
                </a:lnTo>
                <a:lnTo>
                  <a:pt x="2959203" y="875554"/>
                </a:lnTo>
                <a:lnTo>
                  <a:pt x="2951565" y="1026575"/>
                </a:lnTo>
                <a:cubicBezTo>
                  <a:pt x="2875795" y="1771492"/>
                  <a:pt x="2245691" y="2352793"/>
                  <a:pt x="1479602" y="2352793"/>
                </a:cubicBezTo>
                <a:cubicBezTo>
                  <a:pt x="662440" y="2352793"/>
                  <a:pt x="0" y="1691401"/>
                  <a:pt x="0" y="875534"/>
                </a:cubicBezTo>
                <a:cubicBezTo>
                  <a:pt x="0" y="569583"/>
                  <a:pt x="93156" y="285356"/>
                  <a:pt x="252694" y="49584"/>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pPr lvl="0"/>
            <a:endParaRPr lang="en-US" dirty="0">
              <a:solidFill>
                <a:schemeClr val="tx1"/>
              </a:solidFill>
            </a:endParaRPr>
          </a:p>
        </p:txBody>
      </p:sp>
      <p:sp>
        <p:nvSpPr>
          <p:cNvPr id="40" name="Freeform: Shape 39">
            <a:extLst>
              <a:ext uri="{FF2B5EF4-FFF2-40B4-BE49-F238E27FC236}">
                <a16:creationId xmlns:a16="http://schemas.microsoft.com/office/drawing/2014/main" id="{F8FA7F58-C470-6376-9DB1-DE7034C491E8}"/>
              </a:ext>
            </a:extLst>
          </p:cNvPr>
          <p:cNvSpPr/>
          <p:nvPr userDrawn="1"/>
        </p:nvSpPr>
        <p:spPr>
          <a:xfrm>
            <a:off x="1390854" y="3130662"/>
            <a:ext cx="3106248" cy="3748831"/>
          </a:xfrm>
          <a:custGeom>
            <a:avLst/>
            <a:gdLst>
              <a:gd name="connsiteX0" fmla="*/ 0 w 3106248"/>
              <a:gd name="connsiteY0" fmla="*/ 0 h 3748831"/>
              <a:gd name="connsiteX1" fmla="*/ 3106248 w 3106248"/>
              <a:gd name="connsiteY1" fmla="*/ 3748831 h 3748831"/>
              <a:gd name="connsiteX2" fmla="*/ 0 w 3106248"/>
              <a:gd name="connsiteY2" fmla="*/ 3748831 h 3748831"/>
            </a:gdLst>
            <a:ahLst/>
            <a:cxnLst>
              <a:cxn ang="0">
                <a:pos x="connsiteX0" y="connsiteY0"/>
              </a:cxn>
              <a:cxn ang="0">
                <a:pos x="connsiteX1" y="connsiteY1"/>
              </a:cxn>
              <a:cxn ang="0">
                <a:pos x="connsiteX2" y="connsiteY2"/>
              </a:cxn>
            </a:cxnLst>
            <a:rect l="l" t="t" r="r" b="b"/>
            <a:pathLst>
              <a:path w="3106248" h="3748831">
                <a:moveTo>
                  <a:pt x="0" y="0"/>
                </a:moveTo>
                <a:lnTo>
                  <a:pt x="3106248" y="3748831"/>
                </a:lnTo>
                <a:lnTo>
                  <a:pt x="0" y="3748831"/>
                </a:lnTo>
                <a:close/>
              </a:path>
            </a:pathLst>
          </a:custGeom>
          <a:solidFill>
            <a:schemeClr val="accent2">
              <a:alpha val="99000"/>
            </a:schemeClr>
          </a:solidFill>
          <a:ln>
            <a:noFill/>
          </a:ln>
        </p:spPr>
        <p:txBody>
          <a:bodyPr vert="horz" wrap="square" lIns="91440" tIns="45720" rIns="91440" bIns="45720" numCol="1" anchor="t" anchorCtr="0" compatLnSpc="1">
            <a:prstTxWarp prst="textNoShape">
              <a:avLst/>
            </a:prstTxWarp>
            <a:noAutofit/>
          </a:bodyPr>
          <a:lstStyle/>
          <a:p>
            <a:pPr lvl="0"/>
            <a:endParaRPr lang="en-US" dirty="0">
              <a:solidFill>
                <a:schemeClr val="tx1"/>
              </a:solidFill>
            </a:endParaRPr>
          </a:p>
        </p:txBody>
      </p:sp>
      <p:sp>
        <p:nvSpPr>
          <p:cNvPr id="37" name="Freeform: Shape 36">
            <a:extLst>
              <a:ext uri="{FF2B5EF4-FFF2-40B4-BE49-F238E27FC236}">
                <a16:creationId xmlns:a16="http://schemas.microsoft.com/office/drawing/2014/main" id="{B27C9E57-563E-7980-7B3C-45FAD9C386F4}"/>
              </a:ext>
            </a:extLst>
          </p:cNvPr>
          <p:cNvSpPr/>
          <p:nvPr userDrawn="1"/>
        </p:nvSpPr>
        <p:spPr>
          <a:xfrm>
            <a:off x="0" y="3130661"/>
            <a:ext cx="1400640" cy="3748832"/>
          </a:xfrm>
          <a:custGeom>
            <a:avLst/>
            <a:gdLst>
              <a:gd name="connsiteX0" fmla="*/ 1400640 w 1400640"/>
              <a:gd name="connsiteY0" fmla="*/ 0 h 3748832"/>
              <a:gd name="connsiteX1" fmla="*/ 1400640 w 1400640"/>
              <a:gd name="connsiteY1" fmla="*/ 3748832 h 3748832"/>
              <a:gd name="connsiteX2" fmla="*/ 0 w 1400640"/>
              <a:gd name="connsiteY2" fmla="*/ 3748832 h 3748832"/>
              <a:gd name="connsiteX3" fmla="*/ 0 w 1400640"/>
              <a:gd name="connsiteY3" fmla="*/ 1684743 h 3748832"/>
            </a:gdLst>
            <a:ahLst/>
            <a:cxnLst>
              <a:cxn ang="0">
                <a:pos x="connsiteX0" y="connsiteY0"/>
              </a:cxn>
              <a:cxn ang="0">
                <a:pos x="connsiteX1" y="connsiteY1"/>
              </a:cxn>
              <a:cxn ang="0">
                <a:pos x="connsiteX2" y="connsiteY2"/>
              </a:cxn>
              <a:cxn ang="0">
                <a:pos x="connsiteX3" y="connsiteY3"/>
              </a:cxn>
            </a:cxnLst>
            <a:rect l="l" t="t" r="r" b="b"/>
            <a:pathLst>
              <a:path w="1400640" h="3748832">
                <a:moveTo>
                  <a:pt x="1400640" y="0"/>
                </a:moveTo>
                <a:lnTo>
                  <a:pt x="1400640" y="3748832"/>
                </a:lnTo>
                <a:lnTo>
                  <a:pt x="0" y="3748832"/>
                </a:lnTo>
                <a:lnTo>
                  <a:pt x="0" y="168474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dirty="0"/>
          </a:p>
        </p:txBody>
      </p:sp>
      <p:sp>
        <p:nvSpPr>
          <p:cNvPr id="2" name="Title 1"/>
          <p:cNvSpPr>
            <a:spLocks noGrp="1"/>
          </p:cNvSpPr>
          <p:nvPr>
            <p:ph type="title"/>
          </p:nvPr>
        </p:nvSpPr>
        <p:spPr>
          <a:xfrm>
            <a:off x="2895600" y="3776472"/>
            <a:ext cx="6400800" cy="768096"/>
          </a:xfrm>
        </p:spPr>
        <p:txBody>
          <a:bodyPr anchor="t">
            <a:noAutofit/>
          </a:bodyPr>
          <a:lstStyle>
            <a:lvl1pPr>
              <a:lnSpc>
                <a:spcPct val="100000"/>
              </a:lnSpc>
              <a:defRPr sz="4400"/>
            </a:lvl1pPr>
          </a:lstStyle>
          <a:p>
            <a:r>
              <a:rPr lang="en-US" dirty="0"/>
              <a:t>Click to edit Master title style</a:t>
            </a:r>
          </a:p>
        </p:txBody>
      </p:sp>
      <p:sp>
        <p:nvSpPr>
          <p:cNvPr id="3" name="Text Placeholder 2"/>
          <p:cNvSpPr>
            <a:spLocks noGrp="1"/>
          </p:cNvSpPr>
          <p:nvPr>
            <p:ph type="body" idx="1"/>
          </p:nvPr>
        </p:nvSpPr>
        <p:spPr>
          <a:xfrm>
            <a:off x="2895600" y="4718304"/>
            <a:ext cx="6400800" cy="512064"/>
          </a:xfrm>
        </p:spPr>
        <p:txBody>
          <a:bodyPr lIns="0" tIns="0" rIns="0" bIns="0">
            <a:noAutofit/>
          </a:bodyPr>
          <a:lstStyle>
            <a:lvl1pPr marL="0" indent="0" algn="ctr">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4074956908"/>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30" name="Freeform: Shape 29">
            <a:extLst>
              <a:ext uri="{FF2B5EF4-FFF2-40B4-BE49-F238E27FC236}">
                <a16:creationId xmlns:a16="http://schemas.microsoft.com/office/drawing/2014/main" id="{2459EA3C-8B88-5F1F-531E-7DA7DE55710B}"/>
              </a:ext>
            </a:extLst>
          </p:cNvPr>
          <p:cNvSpPr/>
          <p:nvPr userDrawn="1"/>
        </p:nvSpPr>
        <p:spPr>
          <a:xfrm>
            <a:off x="1" y="0"/>
            <a:ext cx="2242827" cy="2102966"/>
          </a:xfrm>
          <a:custGeom>
            <a:avLst/>
            <a:gdLst>
              <a:gd name="connsiteX0" fmla="*/ 2220549 w 2242827"/>
              <a:gd name="connsiteY0" fmla="*/ 0 h 2102966"/>
              <a:gd name="connsiteX1" fmla="*/ 2242827 w 2242827"/>
              <a:gd name="connsiteY1" fmla="*/ 0 h 2102966"/>
              <a:gd name="connsiteX2" fmla="*/ 2238641 w 2242827"/>
              <a:gd name="connsiteY2" fmla="*/ 82607 h 2102966"/>
              <a:gd name="connsiteX3" fmla="*/ 1 w 2242827"/>
              <a:gd name="connsiteY3" fmla="*/ 2102966 h 2102966"/>
              <a:gd name="connsiteX4" fmla="*/ 1 w 2242827"/>
              <a:gd name="connsiteY4" fmla="*/ 2080690 h 2102966"/>
              <a:gd name="connsiteX5" fmla="*/ 2216479 w 2242827"/>
              <a:gd name="connsiteY5" fmla="*/ 80336 h 2102966"/>
              <a:gd name="connsiteX6" fmla="*/ 2098030 w 2242827"/>
              <a:gd name="connsiteY6" fmla="*/ 0 h 2102966"/>
              <a:gd name="connsiteX7" fmla="*/ 2120412 w 2242827"/>
              <a:gd name="connsiteY7" fmla="*/ 0 h 2102966"/>
              <a:gd name="connsiteX8" fmla="*/ 2116859 w 2242827"/>
              <a:gd name="connsiteY8" fmla="*/ 70117 h 2102966"/>
              <a:gd name="connsiteX9" fmla="*/ 1 w 2242827"/>
              <a:gd name="connsiteY9" fmla="*/ 1980571 h 2102966"/>
              <a:gd name="connsiteX10" fmla="*/ 1 w 2242827"/>
              <a:gd name="connsiteY10" fmla="*/ 1958295 h 2102966"/>
              <a:gd name="connsiteX11" fmla="*/ 2094588 w 2242827"/>
              <a:gd name="connsiteY11" fmla="*/ 67938 h 2102966"/>
              <a:gd name="connsiteX12" fmla="*/ 1975608 w 2242827"/>
              <a:gd name="connsiteY12" fmla="*/ 0 h 2102966"/>
              <a:gd name="connsiteX13" fmla="*/ 1997887 w 2242827"/>
              <a:gd name="connsiteY13" fmla="*/ 0 h 2102966"/>
              <a:gd name="connsiteX14" fmla="*/ 1994968 w 2242827"/>
              <a:gd name="connsiteY14" fmla="*/ 57611 h 2102966"/>
              <a:gd name="connsiteX15" fmla="*/ 1 w 2242827"/>
              <a:gd name="connsiteY15" fmla="*/ 1858047 h 2102966"/>
              <a:gd name="connsiteX16" fmla="*/ 1 w 2242827"/>
              <a:gd name="connsiteY16" fmla="*/ 1835771 h 2102966"/>
              <a:gd name="connsiteX17" fmla="*/ 1972805 w 2242827"/>
              <a:gd name="connsiteY17" fmla="*/ 55322 h 2102966"/>
              <a:gd name="connsiteX18" fmla="*/ 1853193 w 2242827"/>
              <a:gd name="connsiteY18" fmla="*/ 0 h 2102966"/>
              <a:gd name="connsiteX19" fmla="*/ 1875472 w 2242827"/>
              <a:gd name="connsiteY19" fmla="*/ 0 h 2102966"/>
              <a:gd name="connsiteX20" fmla="*/ 1873186 w 2242827"/>
              <a:gd name="connsiteY20" fmla="*/ 45119 h 2102966"/>
              <a:gd name="connsiteX21" fmla="*/ 0 w 2242827"/>
              <a:gd name="connsiteY21" fmla="*/ 1735650 h 2102966"/>
              <a:gd name="connsiteX22" fmla="*/ 0 w 2242827"/>
              <a:gd name="connsiteY22" fmla="*/ 1713374 h 2102966"/>
              <a:gd name="connsiteX23" fmla="*/ 1851022 w 2242827"/>
              <a:gd name="connsiteY23" fmla="*/ 42848 h 2102966"/>
              <a:gd name="connsiteX24" fmla="*/ 1730668 w 2242827"/>
              <a:gd name="connsiteY24" fmla="*/ 0 h 2102966"/>
              <a:gd name="connsiteX25" fmla="*/ 1753056 w 2242827"/>
              <a:gd name="connsiteY25" fmla="*/ 0 h 2102966"/>
              <a:gd name="connsiteX26" fmla="*/ 1751404 w 2242827"/>
              <a:gd name="connsiteY26" fmla="*/ 32610 h 2102966"/>
              <a:gd name="connsiteX27" fmla="*/ 0 w 2242827"/>
              <a:gd name="connsiteY27" fmla="*/ 1613232 h 2102966"/>
              <a:gd name="connsiteX28" fmla="*/ 0 w 2242827"/>
              <a:gd name="connsiteY28" fmla="*/ 1590961 h 2102966"/>
              <a:gd name="connsiteX29" fmla="*/ 1729127 w 2242827"/>
              <a:gd name="connsiteY29" fmla="*/ 30432 h 2102966"/>
              <a:gd name="connsiteX30" fmla="*/ 1608247 w 2242827"/>
              <a:gd name="connsiteY30" fmla="*/ 0 h 2102966"/>
              <a:gd name="connsiteX31" fmla="*/ 1630525 w 2242827"/>
              <a:gd name="connsiteY31" fmla="*/ 0 h 2102966"/>
              <a:gd name="connsiteX32" fmla="*/ 1629507 w 2242827"/>
              <a:gd name="connsiteY32" fmla="*/ 20086 h 2102966"/>
              <a:gd name="connsiteX33" fmla="*/ 0 w 2242827"/>
              <a:gd name="connsiteY33" fmla="*/ 1490712 h 2102966"/>
              <a:gd name="connsiteX34" fmla="*/ 0 w 2242827"/>
              <a:gd name="connsiteY34" fmla="*/ 1468436 h 2102966"/>
              <a:gd name="connsiteX35" fmla="*/ 1607345 w 2242827"/>
              <a:gd name="connsiteY35" fmla="*/ 17816 h 2102966"/>
              <a:gd name="connsiteX36" fmla="*/ 1485833 w 2242827"/>
              <a:gd name="connsiteY36" fmla="*/ 0 h 2102966"/>
              <a:gd name="connsiteX37" fmla="*/ 1508109 w 2242827"/>
              <a:gd name="connsiteY37" fmla="*/ 0 h 2102966"/>
              <a:gd name="connsiteX38" fmla="*/ 1507724 w 2242827"/>
              <a:gd name="connsiteY38" fmla="*/ 7596 h 2102966"/>
              <a:gd name="connsiteX39" fmla="*/ 0 w 2242827"/>
              <a:gd name="connsiteY39" fmla="*/ 1368317 h 2102966"/>
              <a:gd name="connsiteX40" fmla="*/ 0 w 2242827"/>
              <a:gd name="connsiteY40" fmla="*/ 1346041 h 2102966"/>
              <a:gd name="connsiteX41" fmla="*/ 1485563 w 2242827"/>
              <a:gd name="connsiteY41" fmla="*/ 5325 h 2102966"/>
              <a:gd name="connsiteX42" fmla="*/ 1362591 w 2242827"/>
              <a:gd name="connsiteY42" fmla="*/ 0 h 2102966"/>
              <a:gd name="connsiteX43" fmla="*/ 1385194 w 2242827"/>
              <a:gd name="connsiteY43" fmla="*/ 0 h 2102966"/>
              <a:gd name="connsiteX44" fmla="*/ 1364797 w 2242827"/>
              <a:gd name="connsiteY44" fmla="*/ 133264 h 2102966"/>
              <a:gd name="connsiteX45" fmla="*/ 0 w 2242827"/>
              <a:gd name="connsiteY45" fmla="*/ 1245917 h 2102966"/>
              <a:gd name="connsiteX46" fmla="*/ 0 w 2242827"/>
              <a:gd name="connsiteY46" fmla="*/ 1223641 h 2102966"/>
              <a:gd name="connsiteX47" fmla="*/ 1342864 w 2242827"/>
              <a:gd name="connsiteY47" fmla="*/ 128894 h 2102966"/>
              <a:gd name="connsiteX48" fmla="*/ 1238878 w 2242827"/>
              <a:gd name="connsiteY48" fmla="*/ 0 h 2102966"/>
              <a:gd name="connsiteX49" fmla="*/ 1261388 w 2242827"/>
              <a:gd name="connsiteY49" fmla="*/ 0 h 2102966"/>
              <a:gd name="connsiteX50" fmla="*/ 1244763 w 2242827"/>
              <a:gd name="connsiteY50" fmla="*/ 108614 h 2102966"/>
              <a:gd name="connsiteX51" fmla="*/ 0 w 2242827"/>
              <a:gd name="connsiteY51" fmla="*/ 1123397 h 2102966"/>
              <a:gd name="connsiteX52" fmla="*/ 0 w 2242827"/>
              <a:gd name="connsiteY52" fmla="*/ 1101121 h 2102966"/>
              <a:gd name="connsiteX53" fmla="*/ 1222940 w 2242827"/>
              <a:gd name="connsiteY53" fmla="*/ 104135 h 2102966"/>
              <a:gd name="connsiteX54" fmla="*/ 1115178 w 2242827"/>
              <a:gd name="connsiteY54" fmla="*/ 0 h 2102966"/>
              <a:gd name="connsiteX55" fmla="*/ 1137688 w 2242827"/>
              <a:gd name="connsiteY55" fmla="*/ 0 h 2102966"/>
              <a:gd name="connsiteX56" fmla="*/ 1124836 w 2242827"/>
              <a:gd name="connsiteY56" fmla="*/ 83962 h 2102966"/>
              <a:gd name="connsiteX57" fmla="*/ 0 w 2242827"/>
              <a:gd name="connsiteY57" fmla="*/ 1000978 h 2102966"/>
              <a:gd name="connsiteX58" fmla="*/ 0 w 2242827"/>
              <a:gd name="connsiteY58" fmla="*/ 978703 h 2102966"/>
              <a:gd name="connsiteX59" fmla="*/ 1103012 w 2242827"/>
              <a:gd name="connsiteY59" fmla="*/ 79485 h 2102966"/>
              <a:gd name="connsiteX60" fmla="*/ 991375 w 2242827"/>
              <a:gd name="connsiteY60" fmla="*/ 0 h 2102966"/>
              <a:gd name="connsiteX61" fmla="*/ 1013997 w 2242827"/>
              <a:gd name="connsiteY61" fmla="*/ 0 h 2102966"/>
              <a:gd name="connsiteX62" fmla="*/ 1004915 w 2242827"/>
              <a:gd name="connsiteY62" fmla="*/ 59331 h 2102966"/>
              <a:gd name="connsiteX63" fmla="*/ 0 w 2242827"/>
              <a:gd name="connsiteY63" fmla="*/ 878583 h 2102966"/>
              <a:gd name="connsiteX64" fmla="*/ 0 w 2242827"/>
              <a:gd name="connsiteY64" fmla="*/ 856307 h 2102966"/>
              <a:gd name="connsiteX65" fmla="*/ 982981 w 2242827"/>
              <a:gd name="connsiteY65" fmla="*/ 54853 h 2102966"/>
              <a:gd name="connsiteX66" fmla="*/ 866108 w 2242827"/>
              <a:gd name="connsiteY66" fmla="*/ 0 h 2102966"/>
              <a:gd name="connsiteX67" fmla="*/ 888384 w 2242827"/>
              <a:gd name="connsiteY67" fmla="*/ 0 h 2102966"/>
              <a:gd name="connsiteX68" fmla="*/ 884876 w 2242827"/>
              <a:gd name="connsiteY68" fmla="*/ 34680 h 2102966"/>
              <a:gd name="connsiteX69" fmla="*/ 0 w 2242827"/>
              <a:gd name="connsiteY69" fmla="*/ 756058 h 2102966"/>
              <a:gd name="connsiteX70" fmla="*/ 0 w 2242827"/>
              <a:gd name="connsiteY70" fmla="*/ 733782 h 2102966"/>
              <a:gd name="connsiteX71" fmla="*/ 863057 w 2242827"/>
              <a:gd name="connsiteY71" fmla="*/ 30169 h 2102966"/>
              <a:gd name="connsiteX72" fmla="*/ 743692 w 2242827"/>
              <a:gd name="connsiteY72" fmla="*/ 0 h 2102966"/>
              <a:gd name="connsiteX73" fmla="*/ 765973 w 2242827"/>
              <a:gd name="connsiteY73" fmla="*/ 0 h 2102966"/>
              <a:gd name="connsiteX74" fmla="*/ 764957 w 2242827"/>
              <a:gd name="connsiteY74" fmla="*/ 10048 h 2102966"/>
              <a:gd name="connsiteX75" fmla="*/ 0 w 2242827"/>
              <a:gd name="connsiteY75" fmla="*/ 633662 h 2102966"/>
              <a:gd name="connsiteX76" fmla="*/ 0 w 2242827"/>
              <a:gd name="connsiteY76" fmla="*/ 611386 h 2102966"/>
              <a:gd name="connsiteX77" fmla="*/ 743129 w 2242827"/>
              <a:gd name="connsiteY77" fmla="*/ 5570 h 2102966"/>
              <a:gd name="connsiteX78" fmla="*/ 617163 w 2242827"/>
              <a:gd name="connsiteY78" fmla="*/ 0 h 2102966"/>
              <a:gd name="connsiteX79" fmla="*/ 640489 w 2242827"/>
              <a:gd name="connsiteY79" fmla="*/ 0 h 2102966"/>
              <a:gd name="connsiteX80" fmla="*/ 606611 w 2242827"/>
              <a:gd name="connsiteY80" fmla="*/ 108906 h 2102966"/>
              <a:gd name="connsiteX81" fmla="*/ 0 w 2242827"/>
              <a:gd name="connsiteY81" fmla="*/ 511248 h 2102966"/>
              <a:gd name="connsiteX82" fmla="*/ 0 w 2242827"/>
              <a:gd name="connsiteY82" fmla="*/ 488972 h 2102966"/>
              <a:gd name="connsiteX83" fmla="*/ 585980 w 2242827"/>
              <a:gd name="connsiteY83" fmla="*/ 100252 h 2102966"/>
              <a:gd name="connsiteX84" fmla="*/ 489561 w 2242827"/>
              <a:gd name="connsiteY84" fmla="*/ 0 h 2102966"/>
              <a:gd name="connsiteX85" fmla="*/ 512789 w 2242827"/>
              <a:gd name="connsiteY85" fmla="*/ 0 h 2102966"/>
              <a:gd name="connsiteX86" fmla="*/ 493721 w 2242827"/>
              <a:gd name="connsiteY86" fmla="*/ 61289 h 2102966"/>
              <a:gd name="connsiteX87" fmla="*/ 0 w 2242827"/>
              <a:gd name="connsiteY87" fmla="*/ 388735 h 2102966"/>
              <a:gd name="connsiteX88" fmla="*/ 0 w 2242827"/>
              <a:gd name="connsiteY88" fmla="*/ 366459 h 2102966"/>
              <a:gd name="connsiteX89" fmla="*/ 473199 w 2242827"/>
              <a:gd name="connsiteY89" fmla="*/ 52587 h 2102966"/>
              <a:gd name="connsiteX90" fmla="*/ 361966 w 2242827"/>
              <a:gd name="connsiteY90" fmla="*/ 0 h 2102966"/>
              <a:gd name="connsiteX91" fmla="*/ 385181 w 2242827"/>
              <a:gd name="connsiteY91" fmla="*/ 0 h 2102966"/>
              <a:gd name="connsiteX92" fmla="*/ 380937 w 2242827"/>
              <a:gd name="connsiteY92" fmla="*/ 13636 h 2102966"/>
              <a:gd name="connsiteX93" fmla="*/ 0 w 2242827"/>
              <a:gd name="connsiteY93" fmla="*/ 266328 h 2102966"/>
              <a:gd name="connsiteX94" fmla="*/ 0 w 2242827"/>
              <a:gd name="connsiteY94" fmla="*/ 244052 h 2102966"/>
              <a:gd name="connsiteX95" fmla="*/ 360416 w 2242827"/>
              <a:gd name="connsiteY95" fmla="*/ 4982 h 2102966"/>
              <a:gd name="connsiteX96" fmla="*/ 218905 w 2242827"/>
              <a:gd name="connsiteY96" fmla="*/ 0 h 2102966"/>
              <a:gd name="connsiteX97" fmla="*/ 249720 w 2242827"/>
              <a:gd name="connsiteY97" fmla="*/ 0 h 2102966"/>
              <a:gd name="connsiteX98" fmla="*/ 241311 w 2242827"/>
              <a:gd name="connsiteY98" fmla="*/ 15475 h 2102966"/>
              <a:gd name="connsiteX99" fmla="*/ 0 w 2242827"/>
              <a:gd name="connsiteY99" fmla="*/ 143932 h 2102966"/>
              <a:gd name="connsiteX100" fmla="*/ 0 w 2242827"/>
              <a:gd name="connsiteY100" fmla="*/ 121656 h 2102966"/>
              <a:gd name="connsiteX101" fmla="*/ 189966 w 2242827"/>
              <a:gd name="connsiteY101" fmla="*/ 42875 h 2102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2242827" h="2102966">
                <a:moveTo>
                  <a:pt x="2220549" y="0"/>
                </a:moveTo>
                <a:lnTo>
                  <a:pt x="2242827" y="0"/>
                </a:lnTo>
                <a:lnTo>
                  <a:pt x="2238641" y="82607"/>
                </a:lnTo>
                <a:cubicBezTo>
                  <a:pt x="2123193" y="1215807"/>
                  <a:pt x="1163255" y="2102966"/>
                  <a:pt x="1" y="2102966"/>
                </a:cubicBezTo>
                <a:lnTo>
                  <a:pt x="1" y="2080690"/>
                </a:lnTo>
                <a:cubicBezTo>
                  <a:pt x="1151759" y="2080690"/>
                  <a:pt x="2102176" y="1202330"/>
                  <a:pt x="2216479" y="80336"/>
                </a:cubicBezTo>
                <a:close/>
                <a:moveTo>
                  <a:pt x="2098030" y="0"/>
                </a:moveTo>
                <a:lnTo>
                  <a:pt x="2120412" y="0"/>
                </a:lnTo>
                <a:lnTo>
                  <a:pt x="2116859" y="70117"/>
                </a:lnTo>
                <a:cubicBezTo>
                  <a:pt x="2007691" y="1141666"/>
                  <a:pt x="1099966" y="1980571"/>
                  <a:pt x="1" y="1980571"/>
                </a:cubicBezTo>
                <a:lnTo>
                  <a:pt x="1" y="1958295"/>
                </a:lnTo>
                <a:cubicBezTo>
                  <a:pt x="1088470" y="1958295"/>
                  <a:pt x="1986577" y="1128187"/>
                  <a:pt x="2094588" y="67938"/>
                </a:cubicBezTo>
                <a:close/>
                <a:moveTo>
                  <a:pt x="1975608" y="0"/>
                </a:moveTo>
                <a:lnTo>
                  <a:pt x="1997887" y="0"/>
                </a:lnTo>
                <a:lnTo>
                  <a:pt x="1994968" y="57611"/>
                </a:lnTo>
                <a:cubicBezTo>
                  <a:pt x="1892090" y="1067493"/>
                  <a:pt x="1036676" y="1858047"/>
                  <a:pt x="1" y="1858047"/>
                </a:cubicBezTo>
                <a:lnTo>
                  <a:pt x="1" y="1835771"/>
                </a:lnTo>
                <a:cubicBezTo>
                  <a:pt x="1025181" y="1835771"/>
                  <a:pt x="1871073" y="1053919"/>
                  <a:pt x="1972805" y="55322"/>
                </a:cubicBezTo>
                <a:close/>
                <a:moveTo>
                  <a:pt x="1853193" y="0"/>
                </a:moveTo>
                <a:lnTo>
                  <a:pt x="1875472" y="0"/>
                </a:lnTo>
                <a:lnTo>
                  <a:pt x="1873186" y="45119"/>
                </a:lnTo>
                <a:cubicBezTo>
                  <a:pt x="1776588" y="993350"/>
                  <a:pt x="973388" y="1735650"/>
                  <a:pt x="0" y="1735650"/>
                </a:cubicBezTo>
                <a:lnTo>
                  <a:pt x="0" y="1713374"/>
                </a:lnTo>
                <a:cubicBezTo>
                  <a:pt x="961784" y="1713374"/>
                  <a:pt x="1755557" y="979877"/>
                  <a:pt x="1851022" y="42848"/>
                </a:cubicBezTo>
                <a:close/>
                <a:moveTo>
                  <a:pt x="1730668" y="0"/>
                </a:moveTo>
                <a:lnTo>
                  <a:pt x="1753056" y="0"/>
                </a:lnTo>
                <a:lnTo>
                  <a:pt x="1751404" y="32610"/>
                </a:lnTo>
                <a:cubicBezTo>
                  <a:pt x="1661086" y="919190"/>
                  <a:pt x="910098" y="1613232"/>
                  <a:pt x="0" y="1613232"/>
                </a:cubicBezTo>
                <a:lnTo>
                  <a:pt x="0" y="1590961"/>
                </a:lnTo>
                <a:cubicBezTo>
                  <a:pt x="898495" y="1590961"/>
                  <a:pt x="1639954" y="905712"/>
                  <a:pt x="1729127" y="30432"/>
                </a:cubicBezTo>
                <a:close/>
                <a:moveTo>
                  <a:pt x="1608247" y="0"/>
                </a:moveTo>
                <a:lnTo>
                  <a:pt x="1630525" y="0"/>
                </a:lnTo>
                <a:lnTo>
                  <a:pt x="1629507" y="20086"/>
                </a:lnTo>
                <a:cubicBezTo>
                  <a:pt x="1545469" y="844919"/>
                  <a:pt x="846701" y="1490712"/>
                  <a:pt x="0" y="1490712"/>
                </a:cubicBezTo>
                <a:lnTo>
                  <a:pt x="0" y="1468436"/>
                </a:lnTo>
                <a:cubicBezTo>
                  <a:pt x="835206" y="1468436"/>
                  <a:pt x="1524451" y="831445"/>
                  <a:pt x="1607345" y="17816"/>
                </a:cubicBezTo>
                <a:close/>
                <a:moveTo>
                  <a:pt x="1485833" y="0"/>
                </a:moveTo>
                <a:lnTo>
                  <a:pt x="1508109" y="0"/>
                </a:lnTo>
                <a:lnTo>
                  <a:pt x="1507724" y="7596"/>
                </a:lnTo>
                <a:cubicBezTo>
                  <a:pt x="1429966" y="770778"/>
                  <a:pt x="783416" y="1368317"/>
                  <a:pt x="0" y="1368317"/>
                </a:cubicBezTo>
                <a:lnTo>
                  <a:pt x="0" y="1346041"/>
                </a:lnTo>
                <a:cubicBezTo>
                  <a:pt x="771917" y="1346041"/>
                  <a:pt x="1408949" y="757304"/>
                  <a:pt x="1485563" y="5325"/>
                </a:cubicBezTo>
                <a:close/>
                <a:moveTo>
                  <a:pt x="1362591" y="0"/>
                </a:moveTo>
                <a:lnTo>
                  <a:pt x="1385194" y="0"/>
                </a:lnTo>
                <a:lnTo>
                  <a:pt x="1364797" y="133264"/>
                </a:lnTo>
                <a:cubicBezTo>
                  <a:pt x="1234684" y="767432"/>
                  <a:pt x="672215" y="1245917"/>
                  <a:pt x="0" y="1245917"/>
                </a:cubicBezTo>
                <a:lnTo>
                  <a:pt x="0" y="1223641"/>
                </a:lnTo>
                <a:cubicBezTo>
                  <a:pt x="661385" y="1223641"/>
                  <a:pt x="1214835" y="752908"/>
                  <a:pt x="1342864" y="128894"/>
                </a:cubicBezTo>
                <a:close/>
                <a:moveTo>
                  <a:pt x="1238878" y="0"/>
                </a:moveTo>
                <a:lnTo>
                  <a:pt x="1261388" y="0"/>
                </a:lnTo>
                <a:lnTo>
                  <a:pt x="1244763" y="108614"/>
                </a:lnTo>
                <a:cubicBezTo>
                  <a:pt x="1126083" y="687031"/>
                  <a:pt x="613049" y="1123397"/>
                  <a:pt x="0" y="1123397"/>
                </a:cubicBezTo>
                <a:lnTo>
                  <a:pt x="0" y="1101121"/>
                </a:lnTo>
                <a:cubicBezTo>
                  <a:pt x="602316" y="1101121"/>
                  <a:pt x="1106344" y="672419"/>
                  <a:pt x="1222940" y="104135"/>
                </a:cubicBezTo>
                <a:close/>
                <a:moveTo>
                  <a:pt x="1115178" y="0"/>
                </a:moveTo>
                <a:lnTo>
                  <a:pt x="1137688" y="0"/>
                </a:lnTo>
                <a:lnTo>
                  <a:pt x="1124836" y="83962"/>
                </a:lnTo>
                <a:cubicBezTo>
                  <a:pt x="1017592" y="606647"/>
                  <a:pt x="553979" y="1000978"/>
                  <a:pt x="0" y="1000978"/>
                </a:cubicBezTo>
                <a:lnTo>
                  <a:pt x="0" y="978703"/>
                </a:lnTo>
                <a:cubicBezTo>
                  <a:pt x="543246" y="978703"/>
                  <a:pt x="997852" y="592039"/>
                  <a:pt x="1103012" y="79485"/>
                </a:cubicBezTo>
                <a:close/>
                <a:moveTo>
                  <a:pt x="991375" y="0"/>
                </a:moveTo>
                <a:lnTo>
                  <a:pt x="1013997" y="0"/>
                </a:lnTo>
                <a:lnTo>
                  <a:pt x="1004915" y="59331"/>
                </a:lnTo>
                <a:cubicBezTo>
                  <a:pt x="909100" y="526286"/>
                  <a:pt x="494909" y="878583"/>
                  <a:pt x="0" y="878583"/>
                </a:cubicBezTo>
                <a:lnTo>
                  <a:pt x="0" y="856307"/>
                </a:lnTo>
                <a:cubicBezTo>
                  <a:pt x="484176" y="856307"/>
                  <a:pt x="889272" y="511676"/>
                  <a:pt x="982981" y="54853"/>
                </a:cubicBezTo>
                <a:close/>
                <a:moveTo>
                  <a:pt x="866108" y="0"/>
                </a:moveTo>
                <a:lnTo>
                  <a:pt x="888384" y="0"/>
                </a:lnTo>
                <a:lnTo>
                  <a:pt x="884876" y="34680"/>
                </a:lnTo>
                <a:cubicBezTo>
                  <a:pt x="800495" y="445883"/>
                  <a:pt x="435739" y="756058"/>
                  <a:pt x="0" y="756058"/>
                </a:cubicBezTo>
                <a:lnTo>
                  <a:pt x="0" y="733782"/>
                </a:lnTo>
                <a:cubicBezTo>
                  <a:pt x="425107" y="733782"/>
                  <a:pt x="780781" y="431187"/>
                  <a:pt x="863057" y="30169"/>
                </a:cubicBezTo>
                <a:close/>
                <a:moveTo>
                  <a:pt x="743692" y="0"/>
                </a:moveTo>
                <a:lnTo>
                  <a:pt x="765973" y="0"/>
                </a:lnTo>
                <a:lnTo>
                  <a:pt x="764957" y="10048"/>
                </a:lnTo>
                <a:cubicBezTo>
                  <a:pt x="692029" y="365521"/>
                  <a:pt x="376767" y="633662"/>
                  <a:pt x="0" y="633662"/>
                </a:cubicBezTo>
                <a:lnTo>
                  <a:pt x="0" y="611386"/>
                </a:lnTo>
                <a:cubicBezTo>
                  <a:pt x="365938" y="611386"/>
                  <a:pt x="672265" y="350911"/>
                  <a:pt x="743129" y="5570"/>
                </a:cubicBezTo>
                <a:close/>
                <a:moveTo>
                  <a:pt x="617163" y="0"/>
                </a:moveTo>
                <a:lnTo>
                  <a:pt x="640489" y="0"/>
                </a:lnTo>
                <a:lnTo>
                  <a:pt x="606611" y="108906"/>
                </a:lnTo>
                <a:cubicBezTo>
                  <a:pt x="506524" y="345128"/>
                  <a:pt x="272312" y="511248"/>
                  <a:pt x="0" y="511248"/>
                </a:cubicBezTo>
                <a:lnTo>
                  <a:pt x="0" y="488972"/>
                </a:lnTo>
                <a:cubicBezTo>
                  <a:pt x="263030" y="488972"/>
                  <a:pt x="489290" y="328485"/>
                  <a:pt x="585980" y="100252"/>
                </a:cubicBezTo>
                <a:close/>
                <a:moveTo>
                  <a:pt x="489561" y="0"/>
                </a:moveTo>
                <a:lnTo>
                  <a:pt x="512789" y="0"/>
                </a:lnTo>
                <a:lnTo>
                  <a:pt x="493721" y="61289"/>
                </a:lnTo>
                <a:cubicBezTo>
                  <a:pt x="412246" y="253561"/>
                  <a:pt x="221597" y="388735"/>
                  <a:pt x="0" y="388735"/>
                </a:cubicBezTo>
                <a:lnTo>
                  <a:pt x="0" y="366459"/>
                </a:lnTo>
                <a:cubicBezTo>
                  <a:pt x="212399" y="366459"/>
                  <a:pt x="395116" y="236854"/>
                  <a:pt x="473199" y="52587"/>
                </a:cubicBezTo>
                <a:close/>
                <a:moveTo>
                  <a:pt x="361966" y="0"/>
                </a:moveTo>
                <a:lnTo>
                  <a:pt x="385181" y="0"/>
                </a:lnTo>
                <a:lnTo>
                  <a:pt x="380937" y="13636"/>
                </a:lnTo>
                <a:cubicBezTo>
                  <a:pt x="318070" y="161973"/>
                  <a:pt x="170965" y="266328"/>
                  <a:pt x="0" y="266328"/>
                </a:cubicBezTo>
                <a:lnTo>
                  <a:pt x="0" y="244052"/>
                </a:lnTo>
                <a:cubicBezTo>
                  <a:pt x="161767" y="244052"/>
                  <a:pt x="300940" y="145329"/>
                  <a:pt x="360416" y="4982"/>
                </a:cubicBezTo>
                <a:close/>
                <a:moveTo>
                  <a:pt x="218905" y="0"/>
                </a:moveTo>
                <a:lnTo>
                  <a:pt x="249720" y="0"/>
                </a:lnTo>
                <a:lnTo>
                  <a:pt x="241311" y="15475"/>
                </a:lnTo>
                <a:cubicBezTo>
                  <a:pt x="188962" y="92909"/>
                  <a:pt x="100349" y="143932"/>
                  <a:pt x="0" y="143932"/>
                </a:cubicBezTo>
                <a:lnTo>
                  <a:pt x="0" y="121656"/>
                </a:lnTo>
                <a:cubicBezTo>
                  <a:pt x="74091" y="121656"/>
                  <a:pt x="141290" y="91533"/>
                  <a:pt x="189966" y="42875"/>
                </a:cubicBezTo>
                <a:close/>
              </a:path>
            </a:pathLst>
          </a:custGeom>
          <a:solidFill>
            <a:schemeClr val="accent3">
              <a:lumMod val="20000"/>
              <a:lumOff val="80000"/>
            </a:schemeClr>
          </a:solidFill>
          <a:ln w="458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dirty="0">
              <a:solidFill>
                <a:schemeClr val="tx1"/>
              </a:solidFill>
            </a:endParaRPr>
          </a:p>
        </p:txBody>
      </p:sp>
      <p:sp>
        <p:nvSpPr>
          <p:cNvPr id="2" name="Title 1"/>
          <p:cNvSpPr>
            <a:spLocks noGrp="1"/>
          </p:cNvSpPr>
          <p:nvPr>
            <p:ph type="title"/>
          </p:nvPr>
        </p:nvSpPr>
        <p:spPr/>
        <p:txBody>
          <a:bodyPr>
            <a:noAutofit/>
          </a:bodyPr>
          <a:lstStyle>
            <a:lvl1pPr>
              <a:lnSpc>
                <a:spcPct val="100000"/>
              </a:lnSpc>
              <a:defRPr/>
            </a:lvl1pPr>
          </a:lstStyle>
          <a:p>
            <a:r>
              <a:rPr lang="en-US" dirty="0"/>
              <a:t>Click to edit Master title style</a:t>
            </a:r>
          </a:p>
        </p:txBody>
      </p:sp>
      <p:sp>
        <p:nvSpPr>
          <p:cNvPr id="3" name="Content Placeholder 2"/>
          <p:cNvSpPr>
            <a:spLocks noGrp="1"/>
          </p:cNvSpPr>
          <p:nvPr>
            <p:ph sz="half" idx="1"/>
          </p:nvPr>
        </p:nvSpPr>
        <p:spPr>
          <a:xfrm>
            <a:off x="539496" y="2103120"/>
            <a:ext cx="11119104" cy="4434840"/>
          </a:xfrm>
        </p:spPr>
        <p:txBody>
          <a:bodyPr>
            <a:noAutofit/>
          </a:bodyPr>
          <a:lstStyle>
            <a:lvl1pPr>
              <a:defRPr sz="1800"/>
            </a:lvl1pPr>
            <a:lvl2pPr>
              <a:defRPr sz="1600"/>
            </a:lvl2pPr>
            <a:lvl3pPr>
              <a:defRPr sz="14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1"/>
          </p:nvPr>
        </p:nvSpPr>
        <p:spPr/>
        <p:txBody>
          <a:bodyPr>
            <a:noAutofit/>
          </a:bodyPr>
          <a:lstStyle/>
          <a:p>
            <a:r>
              <a:rPr lang="en-US"/>
              <a:t>Presentation title</a:t>
            </a:r>
            <a:endParaRPr lang="en-US" dirty="0"/>
          </a:p>
        </p:txBody>
      </p:sp>
      <p:sp>
        <p:nvSpPr>
          <p:cNvPr id="7" name="Slide Number Placeholder 6"/>
          <p:cNvSpPr>
            <a:spLocks noGrp="1"/>
          </p:cNvSpPr>
          <p:nvPr>
            <p:ph type="sldNum" sz="quarter" idx="12"/>
          </p:nvPr>
        </p:nvSpPr>
        <p:spPr/>
        <p:txBody>
          <a:bodyPr>
            <a:noAutofit/>
          </a:bodyPr>
          <a:lstStyle/>
          <a:p>
            <a:fld id="{48F63A3B-78C7-47BE-AE5E-E10140E04643}" type="slidenum">
              <a:rPr lang="en-US" dirty="0"/>
              <a:t>‹#›</a:t>
            </a:fld>
            <a:endParaRPr lang="en-US" dirty="0"/>
          </a:p>
        </p:txBody>
      </p:sp>
    </p:spTree>
    <p:extLst>
      <p:ext uri="{BB962C8B-B14F-4D97-AF65-F5344CB8AC3E}">
        <p14:creationId xmlns:p14="http://schemas.microsoft.com/office/powerpoint/2010/main" val="906277908"/>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8" name="Freeform: Shape 27">
            <a:extLst>
              <a:ext uri="{FF2B5EF4-FFF2-40B4-BE49-F238E27FC236}">
                <a16:creationId xmlns:a16="http://schemas.microsoft.com/office/drawing/2014/main" id="{B0C0F070-237F-C60F-3458-4D4D9BA0A222}"/>
              </a:ext>
            </a:extLst>
          </p:cNvPr>
          <p:cNvSpPr/>
          <p:nvPr userDrawn="1"/>
        </p:nvSpPr>
        <p:spPr>
          <a:xfrm>
            <a:off x="9866106" y="0"/>
            <a:ext cx="2325894" cy="2180854"/>
          </a:xfrm>
          <a:custGeom>
            <a:avLst/>
            <a:gdLst>
              <a:gd name="connsiteX0" fmla="*/ 2066927 w 2325894"/>
              <a:gd name="connsiteY0" fmla="*/ 0 h 2180854"/>
              <a:gd name="connsiteX1" fmla="*/ 2098882 w 2325894"/>
              <a:gd name="connsiteY1" fmla="*/ 0 h 2180854"/>
              <a:gd name="connsiteX2" fmla="*/ 2128893 w 2325894"/>
              <a:gd name="connsiteY2" fmla="*/ 44463 h 2180854"/>
              <a:gd name="connsiteX3" fmla="*/ 2269798 w 2325894"/>
              <a:gd name="connsiteY3" fmla="*/ 120493 h 2180854"/>
              <a:gd name="connsiteX4" fmla="*/ 2325894 w 2325894"/>
              <a:gd name="connsiteY4" fmla="*/ 126162 h 2180854"/>
              <a:gd name="connsiteX5" fmla="*/ 2325894 w 2325894"/>
              <a:gd name="connsiteY5" fmla="*/ 149263 h 2180854"/>
              <a:gd name="connsiteX6" fmla="*/ 2265120 w 2325894"/>
              <a:gd name="connsiteY6" fmla="*/ 143117 h 2180854"/>
              <a:gd name="connsiteX7" fmla="*/ 2075647 w 2325894"/>
              <a:gd name="connsiteY7" fmla="*/ 16048 h 2180854"/>
              <a:gd name="connsiteX8" fmla="*/ 1926448 w 2325894"/>
              <a:gd name="connsiteY8" fmla="*/ 0 h 2180854"/>
              <a:gd name="connsiteX9" fmla="*/ 1950522 w 2325894"/>
              <a:gd name="connsiteY9" fmla="*/ 0 h 2180854"/>
              <a:gd name="connsiteX10" fmla="*/ 1952130 w 2325894"/>
              <a:gd name="connsiteY10" fmla="*/ 5167 h 2180854"/>
              <a:gd name="connsiteX11" fmla="*/ 2244242 w 2325894"/>
              <a:gd name="connsiteY11" fmla="*/ 244834 h 2180854"/>
              <a:gd name="connsiteX12" fmla="*/ 2325894 w 2325894"/>
              <a:gd name="connsiteY12" fmla="*/ 253091 h 2180854"/>
              <a:gd name="connsiteX13" fmla="*/ 2325894 w 2325894"/>
              <a:gd name="connsiteY13" fmla="*/ 276192 h 2180854"/>
              <a:gd name="connsiteX14" fmla="*/ 2239598 w 2325894"/>
              <a:gd name="connsiteY14" fmla="*/ 267464 h 2180854"/>
              <a:gd name="connsiteX15" fmla="*/ 1930848 w 2325894"/>
              <a:gd name="connsiteY15" fmla="*/ 14141 h 2180854"/>
              <a:gd name="connsiteX16" fmla="*/ 1794114 w 2325894"/>
              <a:gd name="connsiteY16" fmla="*/ 0 h 2180854"/>
              <a:gd name="connsiteX17" fmla="*/ 1818202 w 2325894"/>
              <a:gd name="connsiteY17" fmla="*/ 0 h 2180854"/>
              <a:gd name="connsiteX18" fmla="*/ 1835170 w 2325894"/>
              <a:gd name="connsiteY18" fmla="*/ 54535 h 2180854"/>
              <a:gd name="connsiteX19" fmla="*/ 2218687 w 2325894"/>
              <a:gd name="connsiteY19" fmla="*/ 369191 h 2180854"/>
              <a:gd name="connsiteX20" fmla="*/ 2325894 w 2325894"/>
              <a:gd name="connsiteY20" fmla="*/ 380032 h 2180854"/>
              <a:gd name="connsiteX21" fmla="*/ 2325894 w 2325894"/>
              <a:gd name="connsiteY21" fmla="*/ 403132 h 2180854"/>
              <a:gd name="connsiteX22" fmla="*/ 2214043 w 2325894"/>
              <a:gd name="connsiteY22" fmla="*/ 391825 h 2180854"/>
              <a:gd name="connsiteX23" fmla="*/ 1813889 w 2325894"/>
              <a:gd name="connsiteY23" fmla="*/ 63559 h 2180854"/>
              <a:gd name="connsiteX24" fmla="*/ 1661683 w 2325894"/>
              <a:gd name="connsiteY24" fmla="*/ 0 h 2180854"/>
              <a:gd name="connsiteX25" fmla="*/ 1685874 w 2325894"/>
              <a:gd name="connsiteY25" fmla="*/ 0 h 2180854"/>
              <a:gd name="connsiteX26" fmla="*/ 1718212 w 2325894"/>
              <a:gd name="connsiteY26" fmla="*/ 103965 h 2180854"/>
              <a:gd name="connsiteX27" fmla="*/ 2193133 w 2325894"/>
              <a:gd name="connsiteY27" fmla="*/ 493659 h 2180854"/>
              <a:gd name="connsiteX28" fmla="*/ 2325894 w 2325894"/>
              <a:gd name="connsiteY28" fmla="*/ 507083 h 2180854"/>
              <a:gd name="connsiteX29" fmla="*/ 2325894 w 2325894"/>
              <a:gd name="connsiteY29" fmla="*/ 530183 h 2180854"/>
              <a:gd name="connsiteX30" fmla="*/ 2188450 w 2325894"/>
              <a:gd name="connsiteY30" fmla="*/ 516288 h 2180854"/>
              <a:gd name="connsiteX31" fmla="*/ 1696817 w 2325894"/>
              <a:gd name="connsiteY31" fmla="*/ 112939 h 2180854"/>
              <a:gd name="connsiteX32" fmla="*/ 1531553 w 2325894"/>
              <a:gd name="connsiteY32" fmla="*/ 0 h 2180854"/>
              <a:gd name="connsiteX33" fmla="*/ 1554659 w 2325894"/>
              <a:gd name="connsiteY33" fmla="*/ 0 h 2180854"/>
              <a:gd name="connsiteX34" fmla="*/ 1555243 w 2325894"/>
              <a:gd name="connsiteY34" fmla="*/ 5776 h 2180854"/>
              <a:gd name="connsiteX35" fmla="*/ 2245588 w 2325894"/>
              <a:gd name="connsiteY35" fmla="*/ 629962 h 2180854"/>
              <a:gd name="connsiteX36" fmla="*/ 2325894 w 2325894"/>
              <a:gd name="connsiteY36" fmla="*/ 634030 h 2180854"/>
              <a:gd name="connsiteX37" fmla="*/ 2325894 w 2325894"/>
              <a:gd name="connsiteY37" fmla="*/ 657131 h 2180854"/>
              <a:gd name="connsiteX38" fmla="*/ 2243214 w 2325894"/>
              <a:gd name="connsiteY38" fmla="*/ 652943 h 2180854"/>
              <a:gd name="connsiteX39" fmla="*/ 1532607 w 2325894"/>
              <a:gd name="connsiteY39" fmla="*/ 10419 h 2180854"/>
              <a:gd name="connsiteX40" fmla="*/ 1404609 w 2325894"/>
              <a:gd name="connsiteY40" fmla="*/ 0 h 2180854"/>
              <a:gd name="connsiteX41" fmla="*/ 1427709 w 2325894"/>
              <a:gd name="connsiteY41" fmla="*/ 0 h 2180854"/>
              <a:gd name="connsiteX42" fmla="*/ 1430873 w 2325894"/>
              <a:gd name="connsiteY42" fmla="*/ 31287 h 2180854"/>
              <a:gd name="connsiteX43" fmla="*/ 2232606 w 2325894"/>
              <a:gd name="connsiteY43" fmla="*/ 756233 h 2180854"/>
              <a:gd name="connsiteX44" fmla="*/ 2325894 w 2325894"/>
              <a:gd name="connsiteY44" fmla="*/ 760959 h 2180854"/>
              <a:gd name="connsiteX45" fmla="*/ 2325894 w 2325894"/>
              <a:gd name="connsiteY45" fmla="*/ 784060 h 2180854"/>
              <a:gd name="connsiteX46" fmla="*/ 2230270 w 2325894"/>
              <a:gd name="connsiteY46" fmla="*/ 779216 h 2180854"/>
              <a:gd name="connsiteX47" fmla="*/ 1408246 w 2325894"/>
              <a:gd name="connsiteY47" fmla="*/ 35964 h 2180854"/>
              <a:gd name="connsiteX48" fmla="*/ 1274343 w 2325894"/>
              <a:gd name="connsiteY48" fmla="*/ 0 h 2180854"/>
              <a:gd name="connsiteX49" fmla="*/ 1300756 w 2325894"/>
              <a:gd name="connsiteY49" fmla="*/ 0 h 2180854"/>
              <a:gd name="connsiteX50" fmla="*/ 1306507 w 2325894"/>
              <a:gd name="connsiteY50" fmla="*/ 56884 h 2180854"/>
              <a:gd name="connsiteX51" fmla="*/ 2219643 w 2325894"/>
              <a:gd name="connsiteY51" fmla="*/ 882640 h 2180854"/>
              <a:gd name="connsiteX52" fmla="*/ 2325894 w 2325894"/>
              <a:gd name="connsiteY52" fmla="*/ 888022 h 2180854"/>
              <a:gd name="connsiteX53" fmla="*/ 2325894 w 2325894"/>
              <a:gd name="connsiteY53" fmla="*/ 911123 h 2180854"/>
              <a:gd name="connsiteX54" fmla="*/ 2217286 w 2325894"/>
              <a:gd name="connsiteY54" fmla="*/ 905621 h 2180854"/>
              <a:gd name="connsiteX55" fmla="*/ 1283761 w 2325894"/>
              <a:gd name="connsiteY55" fmla="*/ 61528 h 2180854"/>
              <a:gd name="connsiteX56" fmla="*/ 1146071 w 2325894"/>
              <a:gd name="connsiteY56" fmla="*/ 0 h 2180854"/>
              <a:gd name="connsiteX57" fmla="*/ 1169414 w 2325894"/>
              <a:gd name="connsiteY57" fmla="*/ 0 h 2180854"/>
              <a:gd name="connsiteX58" fmla="*/ 1182030 w 2325894"/>
              <a:gd name="connsiteY58" fmla="*/ 82429 h 2180854"/>
              <a:gd name="connsiteX59" fmla="*/ 2206679 w 2325894"/>
              <a:gd name="connsiteY59" fmla="*/ 1008912 h 2180854"/>
              <a:gd name="connsiteX60" fmla="*/ 2325894 w 2325894"/>
              <a:gd name="connsiteY60" fmla="*/ 1014951 h 2180854"/>
              <a:gd name="connsiteX61" fmla="*/ 2325894 w 2325894"/>
              <a:gd name="connsiteY61" fmla="*/ 1038052 h 2180854"/>
              <a:gd name="connsiteX62" fmla="*/ 2204323 w 2325894"/>
              <a:gd name="connsiteY62" fmla="*/ 1031893 h 2180854"/>
              <a:gd name="connsiteX63" fmla="*/ 1159398 w 2325894"/>
              <a:gd name="connsiteY63" fmla="*/ 87072 h 2180854"/>
              <a:gd name="connsiteX64" fmla="*/ 1017789 w 2325894"/>
              <a:gd name="connsiteY64" fmla="*/ 0 h 2180854"/>
              <a:gd name="connsiteX65" fmla="*/ 1041132 w 2325894"/>
              <a:gd name="connsiteY65" fmla="*/ 0 h 2180854"/>
              <a:gd name="connsiteX66" fmla="*/ 1057661 w 2325894"/>
              <a:gd name="connsiteY66" fmla="*/ 107992 h 2180854"/>
              <a:gd name="connsiteX67" fmla="*/ 2193716 w 2325894"/>
              <a:gd name="connsiteY67" fmla="*/ 1135208 h 2180854"/>
              <a:gd name="connsiteX68" fmla="*/ 2325894 w 2325894"/>
              <a:gd name="connsiteY68" fmla="*/ 1141903 h 2180854"/>
              <a:gd name="connsiteX69" fmla="*/ 2325894 w 2325894"/>
              <a:gd name="connsiteY69" fmla="*/ 1165004 h 2180854"/>
              <a:gd name="connsiteX70" fmla="*/ 2191361 w 2325894"/>
              <a:gd name="connsiteY70" fmla="*/ 1158189 h 2180854"/>
              <a:gd name="connsiteX71" fmla="*/ 1035029 w 2325894"/>
              <a:gd name="connsiteY71" fmla="*/ 112636 h 2180854"/>
              <a:gd name="connsiteX72" fmla="*/ 889397 w 2325894"/>
              <a:gd name="connsiteY72" fmla="*/ 0 h 2180854"/>
              <a:gd name="connsiteX73" fmla="*/ 912837 w 2325894"/>
              <a:gd name="connsiteY73" fmla="*/ 0 h 2180854"/>
              <a:gd name="connsiteX74" fmla="*/ 933296 w 2325894"/>
              <a:gd name="connsiteY74" fmla="*/ 133667 h 2180854"/>
              <a:gd name="connsiteX75" fmla="*/ 2180754 w 2325894"/>
              <a:gd name="connsiteY75" fmla="*/ 1261608 h 2180854"/>
              <a:gd name="connsiteX76" fmla="*/ 2325894 w 2325894"/>
              <a:gd name="connsiteY76" fmla="*/ 1268960 h 2180854"/>
              <a:gd name="connsiteX77" fmla="*/ 2325894 w 2325894"/>
              <a:gd name="connsiteY77" fmla="*/ 1292061 h 2180854"/>
              <a:gd name="connsiteX78" fmla="*/ 2178378 w 2325894"/>
              <a:gd name="connsiteY78" fmla="*/ 1284588 h 2180854"/>
              <a:gd name="connsiteX79" fmla="*/ 910550 w 2325894"/>
              <a:gd name="connsiteY79" fmla="*/ 138199 h 2180854"/>
              <a:gd name="connsiteX80" fmla="*/ 761929 w 2325894"/>
              <a:gd name="connsiteY80" fmla="*/ 0 h 2180854"/>
              <a:gd name="connsiteX81" fmla="*/ 785032 w 2325894"/>
              <a:gd name="connsiteY81" fmla="*/ 0 h 2180854"/>
              <a:gd name="connsiteX82" fmla="*/ 785312 w 2325894"/>
              <a:gd name="connsiteY82" fmla="*/ 5523 h 2180854"/>
              <a:gd name="connsiteX83" fmla="*/ 2167790 w 2325894"/>
              <a:gd name="connsiteY83" fmla="*/ 1387884 h 2180854"/>
              <a:gd name="connsiteX84" fmla="*/ 2325894 w 2325894"/>
              <a:gd name="connsiteY84" fmla="*/ 1395894 h 2180854"/>
              <a:gd name="connsiteX85" fmla="*/ 2325894 w 2325894"/>
              <a:gd name="connsiteY85" fmla="*/ 1418995 h 2180854"/>
              <a:gd name="connsiteX86" fmla="*/ 2165434 w 2325894"/>
              <a:gd name="connsiteY86" fmla="*/ 1410866 h 2180854"/>
              <a:gd name="connsiteX87" fmla="*/ 762328 w 2325894"/>
              <a:gd name="connsiteY87" fmla="*/ 7877 h 2180854"/>
              <a:gd name="connsiteX88" fmla="*/ 634980 w 2325894"/>
              <a:gd name="connsiteY88" fmla="*/ 0 h 2180854"/>
              <a:gd name="connsiteX89" fmla="*/ 658083 w 2325894"/>
              <a:gd name="connsiteY89" fmla="*/ 0 h 2180854"/>
              <a:gd name="connsiteX90" fmla="*/ 659019 w 2325894"/>
              <a:gd name="connsiteY90" fmla="*/ 18476 h 2180854"/>
              <a:gd name="connsiteX91" fmla="*/ 2154827 w 2325894"/>
              <a:gd name="connsiteY91" fmla="*/ 1514157 h 2180854"/>
              <a:gd name="connsiteX92" fmla="*/ 2325894 w 2325894"/>
              <a:gd name="connsiteY92" fmla="*/ 1522823 h 2180854"/>
              <a:gd name="connsiteX93" fmla="*/ 2325894 w 2325894"/>
              <a:gd name="connsiteY93" fmla="*/ 1545924 h 2180854"/>
              <a:gd name="connsiteX94" fmla="*/ 2152472 w 2325894"/>
              <a:gd name="connsiteY94" fmla="*/ 1537138 h 2180854"/>
              <a:gd name="connsiteX95" fmla="*/ 636036 w 2325894"/>
              <a:gd name="connsiteY95" fmla="*/ 20831 h 2180854"/>
              <a:gd name="connsiteX96" fmla="*/ 507911 w 2325894"/>
              <a:gd name="connsiteY96" fmla="*/ 0 h 2180854"/>
              <a:gd name="connsiteX97" fmla="*/ 531128 w 2325894"/>
              <a:gd name="connsiteY97" fmla="*/ 0 h 2180854"/>
              <a:gd name="connsiteX98" fmla="*/ 532727 w 2325894"/>
              <a:gd name="connsiteY98" fmla="*/ 31559 h 2180854"/>
              <a:gd name="connsiteX99" fmla="*/ 2141864 w 2325894"/>
              <a:gd name="connsiteY99" fmla="*/ 1640562 h 2180854"/>
              <a:gd name="connsiteX100" fmla="*/ 2325894 w 2325894"/>
              <a:gd name="connsiteY100" fmla="*/ 1649885 h 2180854"/>
              <a:gd name="connsiteX101" fmla="*/ 2325894 w 2325894"/>
              <a:gd name="connsiteY101" fmla="*/ 1672981 h 2180854"/>
              <a:gd name="connsiteX102" fmla="*/ 2139488 w 2325894"/>
              <a:gd name="connsiteY102" fmla="*/ 1663539 h 2180854"/>
              <a:gd name="connsiteX103" fmla="*/ 509624 w 2325894"/>
              <a:gd name="connsiteY103" fmla="*/ 33818 h 2180854"/>
              <a:gd name="connsiteX104" fmla="*/ 380961 w 2325894"/>
              <a:gd name="connsiteY104" fmla="*/ 0 h 2180854"/>
              <a:gd name="connsiteX105" fmla="*/ 404065 w 2325894"/>
              <a:gd name="connsiteY105" fmla="*/ 0 h 2180854"/>
              <a:gd name="connsiteX106" fmla="*/ 406316 w 2325894"/>
              <a:gd name="connsiteY106" fmla="*/ 44437 h 2180854"/>
              <a:gd name="connsiteX107" fmla="*/ 2128900 w 2325894"/>
              <a:gd name="connsiteY107" fmla="*/ 1766854 h 2180854"/>
              <a:gd name="connsiteX108" fmla="*/ 2325894 w 2325894"/>
              <a:gd name="connsiteY108" fmla="*/ 1776833 h 2180854"/>
              <a:gd name="connsiteX109" fmla="*/ 2325894 w 2325894"/>
              <a:gd name="connsiteY109" fmla="*/ 1799934 h 2180854"/>
              <a:gd name="connsiteX110" fmla="*/ 2126525 w 2325894"/>
              <a:gd name="connsiteY110" fmla="*/ 1789835 h 2180854"/>
              <a:gd name="connsiteX111" fmla="*/ 383332 w 2325894"/>
              <a:gd name="connsiteY111" fmla="*/ 46792 h 2180854"/>
              <a:gd name="connsiteX112" fmla="*/ 254013 w 2325894"/>
              <a:gd name="connsiteY112" fmla="*/ 0 h 2180854"/>
              <a:gd name="connsiteX113" fmla="*/ 277116 w 2325894"/>
              <a:gd name="connsiteY113" fmla="*/ 0 h 2180854"/>
              <a:gd name="connsiteX114" fmla="*/ 280023 w 2325894"/>
              <a:gd name="connsiteY114" fmla="*/ 57371 h 2180854"/>
              <a:gd name="connsiteX115" fmla="*/ 2115917 w 2325894"/>
              <a:gd name="connsiteY115" fmla="*/ 1893125 h 2180854"/>
              <a:gd name="connsiteX116" fmla="*/ 2325894 w 2325894"/>
              <a:gd name="connsiteY116" fmla="*/ 1903762 h 2180854"/>
              <a:gd name="connsiteX117" fmla="*/ 2325894 w 2325894"/>
              <a:gd name="connsiteY117" fmla="*/ 1926863 h 2180854"/>
              <a:gd name="connsiteX118" fmla="*/ 2113563 w 2325894"/>
              <a:gd name="connsiteY118" fmla="*/ 1916107 h 2180854"/>
              <a:gd name="connsiteX119" fmla="*/ 257040 w 2325894"/>
              <a:gd name="connsiteY119" fmla="*/ 59745 h 2180854"/>
              <a:gd name="connsiteX120" fmla="*/ 126949 w 2325894"/>
              <a:gd name="connsiteY120" fmla="*/ 0 h 2180854"/>
              <a:gd name="connsiteX121" fmla="*/ 150160 w 2325894"/>
              <a:gd name="connsiteY121" fmla="*/ 0 h 2180854"/>
              <a:gd name="connsiteX122" fmla="*/ 153729 w 2325894"/>
              <a:gd name="connsiteY122" fmla="*/ 70454 h 2180854"/>
              <a:gd name="connsiteX123" fmla="*/ 2102955 w 2325894"/>
              <a:gd name="connsiteY123" fmla="*/ 2019530 h 2180854"/>
              <a:gd name="connsiteX124" fmla="*/ 2325894 w 2325894"/>
              <a:gd name="connsiteY124" fmla="*/ 2030824 h 2180854"/>
              <a:gd name="connsiteX125" fmla="*/ 2325894 w 2325894"/>
              <a:gd name="connsiteY125" fmla="*/ 2053925 h 2180854"/>
              <a:gd name="connsiteX126" fmla="*/ 2100598 w 2325894"/>
              <a:gd name="connsiteY126" fmla="*/ 2042512 h 2180854"/>
              <a:gd name="connsiteX127" fmla="*/ 130633 w 2325894"/>
              <a:gd name="connsiteY127" fmla="*/ 72714 h 2180854"/>
              <a:gd name="connsiteX128" fmla="*/ 0 w 2325894"/>
              <a:gd name="connsiteY128" fmla="*/ 0 h 2180854"/>
              <a:gd name="connsiteX129" fmla="*/ 23103 w 2325894"/>
              <a:gd name="connsiteY129" fmla="*/ 0 h 2180854"/>
              <a:gd name="connsiteX130" fmla="*/ 27324 w 2325894"/>
              <a:gd name="connsiteY130" fmla="*/ 83311 h 2180854"/>
              <a:gd name="connsiteX131" fmla="*/ 2089991 w 2325894"/>
              <a:gd name="connsiteY131" fmla="*/ 2145803 h 2180854"/>
              <a:gd name="connsiteX132" fmla="*/ 2325894 w 2325894"/>
              <a:gd name="connsiteY132" fmla="*/ 2157753 h 2180854"/>
              <a:gd name="connsiteX133" fmla="*/ 2325894 w 2325894"/>
              <a:gd name="connsiteY133" fmla="*/ 2180854 h 2180854"/>
              <a:gd name="connsiteX134" fmla="*/ 2087636 w 2325894"/>
              <a:gd name="connsiteY134" fmla="*/ 2168784 h 2180854"/>
              <a:gd name="connsiteX135" fmla="*/ 4341 w 2325894"/>
              <a:gd name="connsiteY135" fmla="*/ 85667 h 2180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2325894" h="2180854">
                <a:moveTo>
                  <a:pt x="2066927" y="0"/>
                </a:moveTo>
                <a:lnTo>
                  <a:pt x="2098882" y="0"/>
                </a:lnTo>
                <a:lnTo>
                  <a:pt x="2128893" y="44463"/>
                </a:lnTo>
                <a:cubicBezTo>
                  <a:pt x="2166753" y="82308"/>
                  <a:pt x="2215417" y="109341"/>
                  <a:pt x="2269798" y="120493"/>
                </a:cubicBezTo>
                <a:lnTo>
                  <a:pt x="2325894" y="126162"/>
                </a:lnTo>
                <a:lnTo>
                  <a:pt x="2325894" y="149263"/>
                </a:lnTo>
                <a:lnTo>
                  <a:pt x="2265120" y="143117"/>
                </a:lnTo>
                <a:cubicBezTo>
                  <a:pt x="2186576" y="127002"/>
                  <a:pt x="2119077" y="80290"/>
                  <a:pt x="2075647" y="16048"/>
                </a:cubicBezTo>
                <a:close/>
                <a:moveTo>
                  <a:pt x="1926448" y="0"/>
                </a:moveTo>
                <a:lnTo>
                  <a:pt x="1950522" y="0"/>
                </a:lnTo>
                <a:lnTo>
                  <a:pt x="1952130" y="5167"/>
                </a:lnTo>
                <a:cubicBezTo>
                  <a:pt x="2003529" y="126455"/>
                  <a:pt x="2112323" y="217766"/>
                  <a:pt x="2244242" y="244834"/>
                </a:cubicBezTo>
                <a:lnTo>
                  <a:pt x="2325894" y="253091"/>
                </a:lnTo>
                <a:lnTo>
                  <a:pt x="2325894" y="276192"/>
                </a:lnTo>
                <a:lnTo>
                  <a:pt x="2239598" y="267464"/>
                </a:lnTo>
                <a:cubicBezTo>
                  <a:pt x="2100173" y="238852"/>
                  <a:pt x="1985178" y="142334"/>
                  <a:pt x="1930848" y="14141"/>
                </a:cubicBezTo>
                <a:close/>
                <a:moveTo>
                  <a:pt x="1794114" y="0"/>
                </a:moveTo>
                <a:lnTo>
                  <a:pt x="1818202" y="0"/>
                </a:lnTo>
                <a:lnTo>
                  <a:pt x="1835170" y="54535"/>
                </a:lnTo>
                <a:cubicBezTo>
                  <a:pt x="1902650" y="213778"/>
                  <a:pt x="2045483" y="333656"/>
                  <a:pt x="2218687" y="369191"/>
                </a:cubicBezTo>
                <a:lnTo>
                  <a:pt x="2325894" y="380032"/>
                </a:lnTo>
                <a:lnTo>
                  <a:pt x="2325894" y="403132"/>
                </a:lnTo>
                <a:lnTo>
                  <a:pt x="2214043" y="391825"/>
                </a:lnTo>
                <a:cubicBezTo>
                  <a:pt x="2033333" y="354761"/>
                  <a:pt x="1884299" y="229720"/>
                  <a:pt x="1813889" y="63559"/>
                </a:cubicBezTo>
                <a:close/>
                <a:moveTo>
                  <a:pt x="1661683" y="0"/>
                </a:moveTo>
                <a:lnTo>
                  <a:pt x="1685874" y="0"/>
                </a:lnTo>
                <a:lnTo>
                  <a:pt x="1718212" y="103965"/>
                </a:lnTo>
                <a:cubicBezTo>
                  <a:pt x="1801772" y="301203"/>
                  <a:pt x="1978643" y="449654"/>
                  <a:pt x="2193133" y="493659"/>
                </a:cubicBezTo>
                <a:lnTo>
                  <a:pt x="2325894" y="507083"/>
                </a:lnTo>
                <a:lnTo>
                  <a:pt x="2325894" y="530183"/>
                </a:lnTo>
                <a:lnTo>
                  <a:pt x="2188450" y="516288"/>
                </a:lnTo>
                <a:cubicBezTo>
                  <a:pt x="1966399" y="470740"/>
                  <a:pt x="1783312" y="317082"/>
                  <a:pt x="1696817" y="112939"/>
                </a:cubicBezTo>
                <a:close/>
                <a:moveTo>
                  <a:pt x="1531553" y="0"/>
                </a:moveTo>
                <a:lnTo>
                  <a:pt x="1554659" y="0"/>
                </a:lnTo>
                <a:lnTo>
                  <a:pt x="1555243" y="5776"/>
                </a:lnTo>
                <a:cubicBezTo>
                  <a:pt x="1623483" y="338327"/>
                  <a:pt x="1902268" y="594992"/>
                  <a:pt x="2245588" y="629962"/>
                </a:cubicBezTo>
                <a:lnTo>
                  <a:pt x="2325894" y="634030"/>
                </a:lnTo>
                <a:lnTo>
                  <a:pt x="2325894" y="657131"/>
                </a:lnTo>
                <a:lnTo>
                  <a:pt x="2243214" y="652943"/>
                </a:lnTo>
                <a:cubicBezTo>
                  <a:pt x="1889750" y="616944"/>
                  <a:pt x="1602834" y="352727"/>
                  <a:pt x="1532607" y="10419"/>
                </a:cubicBezTo>
                <a:close/>
                <a:moveTo>
                  <a:pt x="1404609" y="0"/>
                </a:moveTo>
                <a:lnTo>
                  <a:pt x="1427709" y="0"/>
                </a:lnTo>
                <a:lnTo>
                  <a:pt x="1430873" y="31287"/>
                </a:lnTo>
                <a:cubicBezTo>
                  <a:pt x="1510102" y="417452"/>
                  <a:pt x="1833798" y="715609"/>
                  <a:pt x="2232606" y="756233"/>
                </a:cubicBezTo>
                <a:lnTo>
                  <a:pt x="2325894" y="760959"/>
                </a:lnTo>
                <a:lnTo>
                  <a:pt x="2325894" y="784060"/>
                </a:lnTo>
                <a:lnTo>
                  <a:pt x="2230270" y="779216"/>
                </a:lnTo>
                <a:cubicBezTo>
                  <a:pt x="1821463" y="737574"/>
                  <a:pt x="1489501" y="431938"/>
                  <a:pt x="1408246" y="35964"/>
                </a:cubicBezTo>
                <a:close/>
                <a:moveTo>
                  <a:pt x="1274343" y="0"/>
                </a:moveTo>
                <a:lnTo>
                  <a:pt x="1300756" y="0"/>
                </a:lnTo>
                <a:lnTo>
                  <a:pt x="1306507" y="56884"/>
                </a:lnTo>
                <a:cubicBezTo>
                  <a:pt x="1396745" y="496788"/>
                  <a:pt x="1765420" y="836372"/>
                  <a:pt x="2219643" y="882640"/>
                </a:cubicBezTo>
                <a:lnTo>
                  <a:pt x="2325894" y="888022"/>
                </a:lnTo>
                <a:lnTo>
                  <a:pt x="2325894" y="911123"/>
                </a:lnTo>
                <a:lnTo>
                  <a:pt x="2217286" y="905621"/>
                </a:lnTo>
                <a:cubicBezTo>
                  <a:pt x="1752979" y="858324"/>
                  <a:pt x="1376027" y="511189"/>
                  <a:pt x="1283761" y="61528"/>
                </a:cubicBezTo>
                <a:close/>
                <a:moveTo>
                  <a:pt x="1146071" y="0"/>
                </a:moveTo>
                <a:lnTo>
                  <a:pt x="1169414" y="0"/>
                </a:lnTo>
                <a:lnTo>
                  <a:pt x="1182030" y="82429"/>
                </a:lnTo>
                <a:cubicBezTo>
                  <a:pt x="1283296" y="576000"/>
                  <a:pt x="1697029" y="957001"/>
                  <a:pt x="2206679" y="1008912"/>
                </a:cubicBezTo>
                <a:lnTo>
                  <a:pt x="2325894" y="1014951"/>
                </a:lnTo>
                <a:lnTo>
                  <a:pt x="2325894" y="1038052"/>
                </a:lnTo>
                <a:lnTo>
                  <a:pt x="2204323" y="1031893"/>
                </a:lnTo>
                <a:cubicBezTo>
                  <a:pt x="1684600" y="978953"/>
                  <a:pt x="1262670" y="590398"/>
                  <a:pt x="1159398" y="87072"/>
                </a:cubicBezTo>
                <a:close/>
                <a:moveTo>
                  <a:pt x="1017789" y="0"/>
                </a:moveTo>
                <a:lnTo>
                  <a:pt x="1041132" y="0"/>
                </a:lnTo>
                <a:lnTo>
                  <a:pt x="1057661" y="107992"/>
                </a:lnTo>
                <a:cubicBezTo>
                  <a:pt x="1169939" y="655229"/>
                  <a:pt x="1628650" y="1077653"/>
                  <a:pt x="2193716" y="1135208"/>
                </a:cubicBezTo>
                <a:lnTo>
                  <a:pt x="2325894" y="1141903"/>
                </a:lnTo>
                <a:lnTo>
                  <a:pt x="2325894" y="1165004"/>
                </a:lnTo>
                <a:lnTo>
                  <a:pt x="2191361" y="1158189"/>
                </a:lnTo>
                <a:cubicBezTo>
                  <a:pt x="1616222" y="1099606"/>
                  <a:pt x="1149313" y="669630"/>
                  <a:pt x="1035029" y="112636"/>
                </a:cubicBezTo>
                <a:close/>
                <a:moveTo>
                  <a:pt x="889397" y="0"/>
                </a:moveTo>
                <a:lnTo>
                  <a:pt x="912837" y="0"/>
                </a:lnTo>
                <a:lnTo>
                  <a:pt x="933296" y="133667"/>
                </a:lnTo>
                <a:cubicBezTo>
                  <a:pt x="1056582" y="734570"/>
                  <a:pt x="1560272" y="1198411"/>
                  <a:pt x="2180754" y="1261608"/>
                </a:cubicBezTo>
                <a:lnTo>
                  <a:pt x="2325894" y="1268960"/>
                </a:lnTo>
                <a:lnTo>
                  <a:pt x="2325894" y="1292061"/>
                </a:lnTo>
                <a:lnTo>
                  <a:pt x="2178378" y="1284588"/>
                </a:lnTo>
                <a:cubicBezTo>
                  <a:pt x="1547742" y="1220351"/>
                  <a:pt x="1035844" y="748879"/>
                  <a:pt x="910550" y="138199"/>
                </a:cubicBezTo>
                <a:close/>
                <a:moveTo>
                  <a:pt x="761929" y="0"/>
                </a:moveTo>
                <a:lnTo>
                  <a:pt x="785032" y="0"/>
                </a:lnTo>
                <a:lnTo>
                  <a:pt x="785312" y="5523"/>
                </a:lnTo>
                <a:cubicBezTo>
                  <a:pt x="859466" y="733364"/>
                  <a:pt x="1439889" y="1313736"/>
                  <a:pt x="2167790" y="1387884"/>
                </a:cubicBezTo>
                <a:lnTo>
                  <a:pt x="2325894" y="1395894"/>
                </a:lnTo>
                <a:lnTo>
                  <a:pt x="2325894" y="1418995"/>
                </a:lnTo>
                <a:lnTo>
                  <a:pt x="2165434" y="1410866"/>
                </a:lnTo>
                <a:cubicBezTo>
                  <a:pt x="1426685" y="1335609"/>
                  <a:pt x="837591" y="746563"/>
                  <a:pt x="762328" y="7877"/>
                </a:cubicBezTo>
                <a:close/>
                <a:moveTo>
                  <a:pt x="634980" y="0"/>
                </a:moveTo>
                <a:lnTo>
                  <a:pt x="658083" y="0"/>
                </a:lnTo>
                <a:lnTo>
                  <a:pt x="659019" y="18476"/>
                </a:lnTo>
                <a:cubicBezTo>
                  <a:pt x="739252" y="805990"/>
                  <a:pt x="1367247" y="1433931"/>
                  <a:pt x="2154827" y="1514157"/>
                </a:cubicBezTo>
                <a:lnTo>
                  <a:pt x="2325894" y="1522823"/>
                </a:lnTo>
                <a:lnTo>
                  <a:pt x="2325894" y="1545924"/>
                </a:lnTo>
                <a:lnTo>
                  <a:pt x="2152472" y="1537138"/>
                </a:lnTo>
                <a:cubicBezTo>
                  <a:pt x="1354048" y="1455804"/>
                  <a:pt x="717377" y="819188"/>
                  <a:pt x="636036" y="20831"/>
                </a:cubicBezTo>
                <a:close/>
                <a:moveTo>
                  <a:pt x="507911" y="0"/>
                </a:moveTo>
                <a:lnTo>
                  <a:pt x="531128" y="0"/>
                </a:lnTo>
                <a:lnTo>
                  <a:pt x="532727" y="31559"/>
                </a:lnTo>
                <a:cubicBezTo>
                  <a:pt x="619037" y="878744"/>
                  <a:pt x="1294606" y="1554259"/>
                  <a:pt x="2141864" y="1640562"/>
                </a:cubicBezTo>
                <a:lnTo>
                  <a:pt x="2325894" y="1649885"/>
                </a:lnTo>
                <a:lnTo>
                  <a:pt x="2325894" y="1672981"/>
                </a:lnTo>
                <a:lnTo>
                  <a:pt x="2139488" y="1663539"/>
                </a:lnTo>
                <a:cubicBezTo>
                  <a:pt x="1281294" y="1576127"/>
                  <a:pt x="597044" y="891939"/>
                  <a:pt x="509624" y="33818"/>
                </a:cubicBezTo>
                <a:close/>
                <a:moveTo>
                  <a:pt x="380961" y="0"/>
                </a:moveTo>
                <a:lnTo>
                  <a:pt x="404065" y="0"/>
                </a:lnTo>
                <a:lnTo>
                  <a:pt x="406316" y="44437"/>
                </a:lnTo>
                <a:cubicBezTo>
                  <a:pt x="498717" y="951387"/>
                  <a:pt x="1221951" y="1674473"/>
                  <a:pt x="2128900" y="1766854"/>
                </a:cubicBezTo>
                <a:lnTo>
                  <a:pt x="2325894" y="1776833"/>
                </a:lnTo>
                <a:lnTo>
                  <a:pt x="2325894" y="1799934"/>
                </a:lnTo>
                <a:lnTo>
                  <a:pt x="2126525" y="1789835"/>
                </a:lnTo>
                <a:cubicBezTo>
                  <a:pt x="1208653" y="1696346"/>
                  <a:pt x="476829" y="964585"/>
                  <a:pt x="383332" y="46792"/>
                </a:cubicBezTo>
                <a:close/>
                <a:moveTo>
                  <a:pt x="254013" y="0"/>
                </a:moveTo>
                <a:lnTo>
                  <a:pt x="277116" y="0"/>
                </a:lnTo>
                <a:lnTo>
                  <a:pt x="280023" y="57371"/>
                </a:lnTo>
                <a:cubicBezTo>
                  <a:pt x="378489" y="1023914"/>
                  <a:pt x="1149211" y="1794655"/>
                  <a:pt x="2115917" y="1893125"/>
                </a:cubicBezTo>
                <a:lnTo>
                  <a:pt x="2325894" y="1903762"/>
                </a:lnTo>
                <a:lnTo>
                  <a:pt x="2325894" y="1926863"/>
                </a:lnTo>
                <a:lnTo>
                  <a:pt x="2113563" y="1916107"/>
                </a:lnTo>
                <a:cubicBezTo>
                  <a:pt x="1136012" y="1816541"/>
                  <a:pt x="356615" y="1037211"/>
                  <a:pt x="257040" y="59745"/>
                </a:cubicBezTo>
                <a:close/>
                <a:moveTo>
                  <a:pt x="126949" y="0"/>
                </a:moveTo>
                <a:lnTo>
                  <a:pt x="150160" y="0"/>
                </a:lnTo>
                <a:lnTo>
                  <a:pt x="153729" y="70454"/>
                </a:lnTo>
                <a:cubicBezTo>
                  <a:pt x="258274" y="1096671"/>
                  <a:pt x="1076570" y="1914983"/>
                  <a:pt x="2102955" y="2019530"/>
                </a:cubicBezTo>
                <a:lnTo>
                  <a:pt x="2325894" y="2030824"/>
                </a:lnTo>
                <a:lnTo>
                  <a:pt x="2325894" y="2053925"/>
                </a:lnTo>
                <a:lnTo>
                  <a:pt x="2100598" y="2042512"/>
                </a:lnTo>
                <a:cubicBezTo>
                  <a:pt x="1063358" y="1936856"/>
                  <a:pt x="236298" y="1109866"/>
                  <a:pt x="130633" y="72714"/>
                </a:cubicBezTo>
                <a:close/>
                <a:moveTo>
                  <a:pt x="0" y="0"/>
                </a:moveTo>
                <a:lnTo>
                  <a:pt x="23103" y="0"/>
                </a:lnTo>
                <a:lnTo>
                  <a:pt x="27324" y="83311"/>
                </a:lnTo>
                <a:cubicBezTo>
                  <a:pt x="137958" y="1169290"/>
                  <a:pt x="1003916" y="2035178"/>
                  <a:pt x="2089991" y="2145803"/>
                </a:cubicBezTo>
                <a:lnTo>
                  <a:pt x="2325894" y="2157753"/>
                </a:lnTo>
                <a:lnTo>
                  <a:pt x="2325894" y="2180854"/>
                </a:lnTo>
                <a:lnTo>
                  <a:pt x="2087636" y="2168784"/>
                </a:lnTo>
                <a:cubicBezTo>
                  <a:pt x="990717" y="2057051"/>
                  <a:pt x="116084" y="1182492"/>
                  <a:pt x="4341" y="85667"/>
                </a:cubicBezTo>
                <a:close/>
              </a:path>
            </a:pathLst>
          </a:custGeom>
          <a:solidFill>
            <a:srgbClr val="E6F0FE"/>
          </a:solidFill>
          <a:ln w="4763"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dirty="0">
              <a:solidFill>
                <a:schemeClr val="tx1"/>
              </a:solidFill>
            </a:endParaRPr>
          </a:p>
        </p:txBody>
      </p:sp>
      <p:sp>
        <p:nvSpPr>
          <p:cNvPr id="2" name="Title 1"/>
          <p:cNvSpPr>
            <a:spLocks noGrp="1"/>
          </p:cNvSpPr>
          <p:nvPr>
            <p:ph type="title"/>
          </p:nvPr>
        </p:nvSpPr>
        <p:spPr/>
        <p:txBody>
          <a:bodyPr>
            <a:noAutofit/>
          </a:bodyPr>
          <a:lstStyle>
            <a:lvl1pPr>
              <a:lnSpc>
                <a:spcPct val="100000"/>
              </a:lnSpc>
              <a:defRPr/>
            </a:lvl1pPr>
          </a:lstStyle>
          <a:p>
            <a:r>
              <a:rPr lang="en-US"/>
              <a:t>Click to edit Master title style</a:t>
            </a:r>
            <a:endParaRPr lang="en-US" dirty="0"/>
          </a:p>
        </p:txBody>
      </p:sp>
      <p:sp>
        <p:nvSpPr>
          <p:cNvPr id="3" name="Content Placeholder 2"/>
          <p:cNvSpPr>
            <a:spLocks noGrp="1"/>
          </p:cNvSpPr>
          <p:nvPr>
            <p:ph sz="half" idx="1"/>
          </p:nvPr>
        </p:nvSpPr>
        <p:spPr>
          <a:xfrm>
            <a:off x="755904" y="2825496"/>
            <a:ext cx="10680192" cy="2834640"/>
          </a:xfrm>
        </p:spPr>
        <p:txBody>
          <a:bodyPr>
            <a:noAutofit/>
          </a:bodyPr>
          <a:lstStyle>
            <a:lvl1pPr>
              <a:defRPr sz="1800"/>
            </a:lvl1pPr>
            <a:lvl2pPr>
              <a:defRPr sz="1600"/>
            </a:lvl2pPr>
            <a:lvl3pPr>
              <a:defRPr sz="14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1"/>
          </p:nvPr>
        </p:nvSpPr>
        <p:spPr/>
        <p:txBody>
          <a:bodyPr>
            <a:noAutofit/>
          </a:bodyPr>
          <a:lstStyle/>
          <a:p>
            <a:r>
              <a:rPr lang="en-US"/>
              <a:t>Presentation title</a:t>
            </a:r>
            <a:endParaRPr lang="en-US" dirty="0"/>
          </a:p>
        </p:txBody>
      </p:sp>
      <p:sp>
        <p:nvSpPr>
          <p:cNvPr id="7" name="Slide Number Placeholder 6"/>
          <p:cNvSpPr>
            <a:spLocks noGrp="1"/>
          </p:cNvSpPr>
          <p:nvPr>
            <p:ph type="sldNum" sz="quarter" idx="12"/>
          </p:nvPr>
        </p:nvSpPr>
        <p:spPr/>
        <p:txBody>
          <a:bodyPr>
            <a:noAutofit/>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27533059"/>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4389120" y="2395728"/>
            <a:ext cx="7013448" cy="1627632"/>
          </a:xfrm>
        </p:spPr>
        <p:txBody>
          <a:bodyPr lIns="0" tIns="0" rIns="0" bIns="0">
            <a:noAutofit/>
          </a:bodyPr>
          <a:lstStyle>
            <a:lvl1pPr algn="l">
              <a:lnSpc>
                <a:spcPct val="100000"/>
              </a:lnSpc>
              <a:defRPr sz="3300" b="1">
                <a:latin typeface="Arial" panose="020B0604020202020204" pitchFamily="34" charset="0"/>
                <a:cs typeface="Arial" panose="020B0604020202020204" pitchFamily="34" charset="0"/>
              </a:defRPr>
            </a:lvl1pPr>
          </a:lstStyle>
          <a:p>
            <a:r>
              <a:rPr lang="en-US" dirty="0"/>
              <a:t>Click to edit Master title style</a:t>
            </a:r>
          </a:p>
        </p:txBody>
      </p:sp>
      <p:sp>
        <p:nvSpPr>
          <p:cNvPr id="57" name="Text Placeholder 54">
            <a:extLst>
              <a:ext uri="{FF2B5EF4-FFF2-40B4-BE49-F238E27FC236}">
                <a16:creationId xmlns:a16="http://schemas.microsoft.com/office/drawing/2014/main" id="{A493C80D-2813-9E70-8901-D4B9EA4DD7EA}"/>
              </a:ext>
            </a:extLst>
          </p:cNvPr>
          <p:cNvSpPr>
            <a:spLocks noGrp="1"/>
          </p:cNvSpPr>
          <p:nvPr>
            <p:ph type="body" sz="quarter" idx="15" hasCustomPrompt="1"/>
          </p:nvPr>
        </p:nvSpPr>
        <p:spPr>
          <a:xfrm>
            <a:off x="3611880" y="1984248"/>
            <a:ext cx="768096" cy="1627632"/>
          </a:xfrm>
        </p:spPr>
        <p:txBody>
          <a:bodyPr lIns="91440" tIns="45720" rIns="91440" bIns="54864">
            <a:noAutofit/>
          </a:bodyPr>
          <a:lstStyle>
            <a:lvl1pPr marL="0" indent="0">
              <a:buNone/>
              <a:defRPr sz="10000" b="1"/>
            </a:lvl1pPr>
          </a:lstStyle>
          <a:p>
            <a:pPr lvl="0"/>
            <a:r>
              <a:rPr lang="en-US" dirty="0"/>
              <a:t>“</a:t>
            </a:r>
          </a:p>
        </p:txBody>
      </p:sp>
      <p:sp>
        <p:nvSpPr>
          <p:cNvPr id="55" name="Text Placeholder 54">
            <a:extLst>
              <a:ext uri="{FF2B5EF4-FFF2-40B4-BE49-F238E27FC236}">
                <a16:creationId xmlns:a16="http://schemas.microsoft.com/office/drawing/2014/main" id="{A2733C45-7C53-2BC5-3F62-D069650A79C9}"/>
              </a:ext>
            </a:extLst>
          </p:cNvPr>
          <p:cNvSpPr>
            <a:spLocks noGrp="1"/>
          </p:cNvSpPr>
          <p:nvPr>
            <p:ph type="body" sz="quarter" idx="13"/>
          </p:nvPr>
        </p:nvSpPr>
        <p:spPr>
          <a:xfrm>
            <a:off x="4389120" y="4308475"/>
            <a:ext cx="3932238" cy="588963"/>
          </a:xfrm>
        </p:spPr>
        <p:txBody>
          <a:bodyPr lIns="0" tIns="0" rIns="0" bIns="0">
            <a:noAutofit/>
          </a:bodyPr>
          <a:lstStyle>
            <a:lvl1pPr marL="0" indent="0">
              <a:buNone/>
              <a:defRPr sz="2400"/>
            </a:lvl1pPr>
          </a:lstStyle>
          <a:p>
            <a:pPr lvl="0"/>
            <a:r>
              <a:rPr lang="en-US" dirty="0"/>
              <a:t>Click to edit Master text styles</a:t>
            </a:r>
          </a:p>
        </p:txBody>
      </p:sp>
      <p:sp>
        <p:nvSpPr>
          <p:cNvPr id="56" name="Text Placeholder 54">
            <a:extLst>
              <a:ext uri="{FF2B5EF4-FFF2-40B4-BE49-F238E27FC236}">
                <a16:creationId xmlns:a16="http://schemas.microsoft.com/office/drawing/2014/main" id="{B1D62231-87CB-21EC-CF8C-46276AD1F951}"/>
              </a:ext>
            </a:extLst>
          </p:cNvPr>
          <p:cNvSpPr>
            <a:spLocks noGrp="1"/>
          </p:cNvSpPr>
          <p:nvPr>
            <p:ph type="body" sz="quarter" idx="14" hasCustomPrompt="1"/>
          </p:nvPr>
        </p:nvSpPr>
        <p:spPr>
          <a:xfrm>
            <a:off x="9500616" y="3209544"/>
            <a:ext cx="768096" cy="1627632"/>
          </a:xfrm>
        </p:spPr>
        <p:txBody>
          <a:bodyPr lIns="91440" tIns="45720" rIns="91440" bIns="54864">
            <a:noAutofit/>
          </a:bodyPr>
          <a:lstStyle>
            <a:lvl1pPr marL="0" indent="0">
              <a:buNone/>
              <a:defRPr sz="10000" b="1"/>
            </a:lvl1pPr>
          </a:lstStyle>
          <a:p>
            <a:pPr lvl="0"/>
            <a:r>
              <a:rPr lang="en-US" dirty="0"/>
              <a:t>”</a:t>
            </a:r>
          </a:p>
        </p:txBody>
      </p:sp>
      <p:sp>
        <p:nvSpPr>
          <p:cNvPr id="32" name="Image 1" descr="preencoded.png">
            <a:extLst>
              <a:ext uri="{FF2B5EF4-FFF2-40B4-BE49-F238E27FC236}">
                <a16:creationId xmlns:a16="http://schemas.microsoft.com/office/drawing/2014/main" id="{2A3EC91E-4089-D366-06D3-3E66F93DFAF3}"/>
              </a:ext>
            </a:extLst>
          </p:cNvPr>
          <p:cNvSpPr/>
          <p:nvPr/>
        </p:nvSpPr>
        <p:spPr>
          <a:xfrm>
            <a:off x="-7117" y="0"/>
            <a:ext cx="2550985" cy="6858000"/>
          </a:xfrm>
          <a:custGeom>
            <a:avLst/>
            <a:gdLst>
              <a:gd name="connsiteX0" fmla="*/ 2550985 w 2550985"/>
              <a:gd name="connsiteY0" fmla="*/ 0 h 6858000"/>
              <a:gd name="connsiteX1" fmla="*/ 0 w 2550985"/>
              <a:gd name="connsiteY1" fmla="*/ 0 h 6858000"/>
              <a:gd name="connsiteX2" fmla="*/ 0 w 2550985"/>
              <a:gd name="connsiteY2" fmla="*/ 6858000 h 6858000"/>
              <a:gd name="connsiteX3" fmla="*/ 2550985 w 2550985"/>
              <a:gd name="connsiteY3" fmla="*/ 6858000 h 6858000"/>
              <a:gd name="connsiteX4" fmla="*/ 2550985 w 2550985"/>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0985" h="6858000">
                <a:moveTo>
                  <a:pt x="2550985" y="0"/>
                </a:moveTo>
                <a:lnTo>
                  <a:pt x="0" y="0"/>
                </a:lnTo>
                <a:lnTo>
                  <a:pt x="0" y="6858000"/>
                </a:lnTo>
                <a:lnTo>
                  <a:pt x="2550985" y="6858000"/>
                </a:lnTo>
                <a:lnTo>
                  <a:pt x="2550985" y="0"/>
                </a:lnTo>
                <a:close/>
              </a:path>
            </a:pathLst>
          </a:custGeom>
          <a:solidFill>
            <a:schemeClr val="accent4"/>
          </a:solidFill>
          <a:ln w="7045" cap="flat">
            <a:noFill/>
            <a:prstDash val="solid"/>
            <a:miter/>
          </a:ln>
        </p:spPr>
        <p:txBody>
          <a:bodyPr rtlCol="0" anchor="ctr">
            <a:noAutofit/>
          </a:bodyPr>
          <a:lstStyle/>
          <a:p>
            <a:endParaRPr lang="en-US" dirty="0"/>
          </a:p>
        </p:txBody>
      </p:sp>
      <p:sp>
        <p:nvSpPr>
          <p:cNvPr id="53" name="Freeform: Shape 52">
            <a:extLst>
              <a:ext uri="{FF2B5EF4-FFF2-40B4-BE49-F238E27FC236}">
                <a16:creationId xmlns:a16="http://schemas.microsoft.com/office/drawing/2014/main" id="{70F595E1-C910-3710-90E9-AF5FFCE05861}"/>
              </a:ext>
            </a:extLst>
          </p:cNvPr>
          <p:cNvSpPr/>
          <p:nvPr userDrawn="1"/>
        </p:nvSpPr>
        <p:spPr>
          <a:xfrm>
            <a:off x="-9415" y="0"/>
            <a:ext cx="2548591" cy="2555628"/>
          </a:xfrm>
          <a:custGeom>
            <a:avLst/>
            <a:gdLst>
              <a:gd name="connsiteX0" fmla="*/ 138643 w 2548591"/>
              <a:gd name="connsiteY0" fmla="*/ 1 h 2555628"/>
              <a:gd name="connsiteX1" fmla="*/ 163874 w 2548591"/>
              <a:gd name="connsiteY1" fmla="*/ 1 h 2555628"/>
              <a:gd name="connsiteX2" fmla="*/ 2548463 w 2548591"/>
              <a:gd name="connsiteY2" fmla="*/ 2391168 h 2555628"/>
              <a:gd name="connsiteX3" fmla="*/ 2548463 w 2548591"/>
              <a:gd name="connsiteY3" fmla="*/ 2416472 h 2555628"/>
              <a:gd name="connsiteX4" fmla="*/ 2548590 w 2548591"/>
              <a:gd name="connsiteY4" fmla="*/ 2416600 h 2555628"/>
              <a:gd name="connsiteX5" fmla="*/ 138643 w 2548591"/>
              <a:gd name="connsiteY5" fmla="*/ 1 h 2555628"/>
              <a:gd name="connsiteX6" fmla="*/ 0 w 2548591"/>
              <a:gd name="connsiteY6" fmla="*/ 1 h 2555628"/>
              <a:gd name="connsiteX7" fmla="*/ 25231 w 2548591"/>
              <a:gd name="connsiteY7" fmla="*/ 1 h 2555628"/>
              <a:gd name="connsiteX8" fmla="*/ 2548591 w 2548591"/>
              <a:gd name="connsiteY8" fmla="*/ 2530324 h 2555628"/>
              <a:gd name="connsiteX9" fmla="*/ 2548591 w 2548591"/>
              <a:gd name="connsiteY9" fmla="*/ 2555628 h 2555628"/>
              <a:gd name="connsiteX10" fmla="*/ 0 w 2548591"/>
              <a:gd name="connsiteY10" fmla="*/ 1 h 2555628"/>
              <a:gd name="connsiteX11" fmla="*/ 277411 w 2548591"/>
              <a:gd name="connsiteY11" fmla="*/ 1 h 2555628"/>
              <a:gd name="connsiteX12" fmla="*/ 302642 w 2548591"/>
              <a:gd name="connsiteY12" fmla="*/ 1 h 2555628"/>
              <a:gd name="connsiteX13" fmla="*/ 2548582 w 2548591"/>
              <a:gd name="connsiteY13" fmla="*/ 2252147 h 2555628"/>
              <a:gd name="connsiteX14" fmla="*/ 2548582 w 2548591"/>
              <a:gd name="connsiteY14" fmla="*/ 2277444 h 2555628"/>
              <a:gd name="connsiteX15" fmla="*/ 277411 w 2548591"/>
              <a:gd name="connsiteY15" fmla="*/ 1 h 2555628"/>
              <a:gd name="connsiteX16" fmla="*/ 416054 w 2548591"/>
              <a:gd name="connsiteY16" fmla="*/ 1 h 2555628"/>
              <a:gd name="connsiteX17" fmla="*/ 441285 w 2548591"/>
              <a:gd name="connsiteY17" fmla="*/ 1 h 2555628"/>
              <a:gd name="connsiteX18" fmla="*/ 2548589 w 2548591"/>
              <a:gd name="connsiteY18" fmla="*/ 2113119 h 2555628"/>
              <a:gd name="connsiteX19" fmla="*/ 2548589 w 2548591"/>
              <a:gd name="connsiteY19" fmla="*/ 2138423 h 2555628"/>
              <a:gd name="connsiteX20" fmla="*/ 416054 w 2548591"/>
              <a:gd name="connsiteY20" fmla="*/ 1 h 2555628"/>
              <a:gd name="connsiteX21" fmla="*/ 554698 w 2548591"/>
              <a:gd name="connsiteY21" fmla="*/ 1 h 2555628"/>
              <a:gd name="connsiteX22" fmla="*/ 579930 w 2548591"/>
              <a:gd name="connsiteY22" fmla="*/ 1 h 2555628"/>
              <a:gd name="connsiteX23" fmla="*/ 2548462 w 2548591"/>
              <a:gd name="connsiteY23" fmla="*/ 1973963 h 2555628"/>
              <a:gd name="connsiteX24" fmla="*/ 2548462 w 2548591"/>
              <a:gd name="connsiteY24" fmla="*/ 1999267 h 2555628"/>
              <a:gd name="connsiteX25" fmla="*/ 2548589 w 2548591"/>
              <a:gd name="connsiteY25" fmla="*/ 1999394 h 2555628"/>
              <a:gd name="connsiteX26" fmla="*/ 554698 w 2548591"/>
              <a:gd name="connsiteY26" fmla="*/ 1 h 2555628"/>
              <a:gd name="connsiteX27" fmla="*/ 693468 w 2548591"/>
              <a:gd name="connsiteY27" fmla="*/ 0 h 2555628"/>
              <a:gd name="connsiteX28" fmla="*/ 718701 w 2548591"/>
              <a:gd name="connsiteY28" fmla="*/ 0 h 2555628"/>
              <a:gd name="connsiteX29" fmla="*/ 2548583 w 2548591"/>
              <a:gd name="connsiteY29" fmla="*/ 1834942 h 2555628"/>
              <a:gd name="connsiteX30" fmla="*/ 2548583 w 2548591"/>
              <a:gd name="connsiteY30" fmla="*/ 1860239 h 2555628"/>
              <a:gd name="connsiteX31" fmla="*/ 693468 w 2548591"/>
              <a:gd name="connsiteY31" fmla="*/ 0 h 2555628"/>
              <a:gd name="connsiteX32" fmla="*/ 832112 w 2548591"/>
              <a:gd name="connsiteY32" fmla="*/ 0 h 2555628"/>
              <a:gd name="connsiteX33" fmla="*/ 857340 w 2548591"/>
              <a:gd name="connsiteY33" fmla="*/ 0 h 2555628"/>
              <a:gd name="connsiteX34" fmla="*/ 2548582 w 2548591"/>
              <a:gd name="connsiteY34" fmla="*/ 1695913 h 2555628"/>
              <a:gd name="connsiteX35" fmla="*/ 2548582 w 2548591"/>
              <a:gd name="connsiteY35" fmla="*/ 1721210 h 2555628"/>
              <a:gd name="connsiteX36" fmla="*/ 832112 w 2548591"/>
              <a:gd name="connsiteY36" fmla="*/ 0 h 2555628"/>
              <a:gd name="connsiteX37" fmla="*/ 970758 w 2548591"/>
              <a:gd name="connsiteY37" fmla="*/ 0 h 2555628"/>
              <a:gd name="connsiteX38" fmla="*/ 995986 w 2548591"/>
              <a:gd name="connsiteY38" fmla="*/ 0 h 2555628"/>
              <a:gd name="connsiteX39" fmla="*/ 2548463 w 2548591"/>
              <a:gd name="connsiteY39" fmla="*/ 1556758 h 2555628"/>
              <a:gd name="connsiteX40" fmla="*/ 2548463 w 2548591"/>
              <a:gd name="connsiteY40" fmla="*/ 1582062 h 2555628"/>
              <a:gd name="connsiteX41" fmla="*/ 2548590 w 2548591"/>
              <a:gd name="connsiteY41" fmla="*/ 1582189 h 2555628"/>
              <a:gd name="connsiteX42" fmla="*/ 970758 w 2548591"/>
              <a:gd name="connsiteY42" fmla="*/ 0 h 2555628"/>
              <a:gd name="connsiteX43" fmla="*/ 1109529 w 2548591"/>
              <a:gd name="connsiteY43" fmla="*/ 0 h 2555628"/>
              <a:gd name="connsiteX44" fmla="*/ 1134764 w 2548591"/>
              <a:gd name="connsiteY44" fmla="*/ 0 h 2555628"/>
              <a:gd name="connsiteX45" fmla="*/ 2548589 w 2548591"/>
              <a:gd name="connsiteY45" fmla="*/ 1417736 h 2555628"/>
              <a:gd name="connsiteX46" fmla="*/ 2548589 w 2548591"/>
              <a:gd name="connsiteY46" fmla="*/ 1443033 h 2555628"/>
              <a:gd name="connsiteX47" fmla="*/ 1109529 w 2548591"/>
              <a:gd name="connsiteY47" fmla="*/ 0 h 2555628"/>
              <a:gd name="connsiteX48" fmla="*/ 1248168 w 2548591"/>
              <a:gd name="connsiteY48" fmla="*/ 0 h 2555628"/>
              <a:gd name="connsiteX49" fmla="*/ 1273396 w 2548591"/>
              <a:gd name="connsiteY49" fmla="*/ 0 h 2555628"/>
              <a:gd name="connsiteX50" fmla="*/ 2548583 w 2548591"/>
              <a:gd name="connsiteY50" fmla="*/ 1278708 h 2555628"/>
              <a:gd name="connsiteX51" fmla="*/ 2548583 w 2548591"/>
              <a:gd name="connsiteY51" fmla="*/ 1304005 h 2555628"/>
              <a:gd name="connsiteX52" fmla="*/ 1248168 w 2548591"/>
              <a:gd name="connsiteY52" fmla="*/ 0 h 2555628"/>
              <a:gd name="connsiteX53" fmla="*/ 1386813 w 2548591"/>
              <a:gd name="connsiteY53" fmla="*/ 0 h 2555628"/>
              <a:gd name="connsiteX54" fmla="*/ 1412041 w 2548591"/>
              <a:gd name="connsiteY54" fmla="*/ 0 h 2555628"/>
              <a:gd name="connsiteX55" fmla="*/ 2548589 w 2548591"/>
              <a:gd name="connsiteY55" fmla="*/ 1139552 h 2555628"/>
              <a:gd name="connsiteX56" fmla="*/ 2548589 w 2548591"/>
              <a:gd name="connsiteY56" fmla="*/ 1164857 h 2555628"/>
              <a:gd name="connsiteX57" fmla="*/ 2548589 w 2548591"/>
              <a:gd name="connsiteY57" fmla="*/ 1164984 h 2555628"/>
              <a:gd name="connsiteX58" fmla="*/ 1386813 w 2548591"/>
              <a:gd name="connsiteY58" fmla="*/ 0 h 2555628"/>
              <a:gd name="connsiteX59" fmla="*/ 1525579 w 2548591"/>
              <a:gd name="connsiteY59" fmla="*/ 0 h 2555628"/>
              <a:gd name="connsiteX60" fmla="*/ 1550814 w 2548591"/>
              <a:gd name="connsiteY60" fmla="*/ 0 h 2555628"/>
              <a:gd name="connsiteX61" fmla="*/ 2548583 w 2548591"/>
              <a:gd name="connsiteY61" fmla="*/ 1000531 h 2555628"/>
              <a:gd name="connsiteX62" fmla="*/ 2548583 w 2548591"/>
              <a:gd name="connsiteY62" fmla="*/ 1025828 h 2555628"/>
              <a:gd name="connsiteX63" fmla="*/ 1525579 w 2548591"/>
              <a:gd name="connsiteY63" fmla="*/ 0 h 2555628"/>
              <a:gd name="connsiteX64" fmla="*/ 1664231 w 2548591"/>
              <a:gd name="connsiteY64" fmla="*/ 0 h 2555628"/>
              <a:gd name="connsiteX65" fmla="*/ 1689459 w 2548591"/>
              <a:gd name="connsiteY65" fmla="*/ 0 h 2555628"/>
              <a:gd name="connsiteX66" fmla="*/ 2548589 w 2548591"/>
              <a:gd name="connsiteY66" fmla="*/ 861503 h 2555628"/>
              <a:gd name="connsiteX67" fmla="*/ 2548589 w 2548591"/>
              <a:gd name="connsiteY67" fmla="*/ 886800 h 2555628"/>
              <a:gd name="connsiteX68" fmla="*/ 1664231 w 2548591"/>
              <a:gd name="connsiteY68" fmla="*/ 0 h 2555628"/>
              <a:gd name="connsiteX69" fmla="*/ 1802870 w 2548591"/>
              <a:gd name="connsiteY69" fmla="*/ 0 h 2555628"/>
              <a:gd name="connsiteX70" fmla="*/ 1828097 w 2548591"/>
              <a:gd name="connsiteY70" fmla="*/ 0 h 2555628"/>
              <a:gd name="connsiteX71" fmla="*/ 2548583 w 2548591"/>
              <a:gd name="connsiteY71" fmla="*/ 722347 h 2555628"/>
              <a:gd name="connsiteX72" fmla="*/ 2548583 w 2548591"/>
              <a:gd name="connsiteY72" fmla="*/ 747651 h 2555628"/>
              <a:gd name="connsiteX73" fmla="*/ 2548583 w 2548591"/>
              <a:gd name="connsiteY73" fmla="*/ 747778 h 2555628"/>
              <a:gd name="connsiteX74" fmla="*/ 1802870 w 2548591"/>
              <a:gd name="connsiteY74" fmla="*/ 0 h 2555628"/>
              <a:gd name="connsiteX75" fmla="*/ 1941642 w 2548591"/>
              <a:gd name="connsiteY75" fmla="*/ 0 h 2555628"/>
              <a:gd name="connsiteX76" fmla="*/ 1966877 w 2548591"/>
              <a:gd name="connsiteY76" fmla="*/ 0 h 2555628"/>
              <a:gd name="connsiteX77" fmla="*/ 2548589 w 2548591"/>
              <a:gd name="connsiteY77" fmla="*/ 583321 h 2555628"/>
              <a:gd name="connsiteX78" fmla="*/ 2548589 w 2548591"/>
              <a:gd name="connsiteY78" fmla="*/ 608622 h 2555628"/>
              <a:gd name="connsiteX79" fmla="*/ 1941642 w 2548591"/>
              <a:gd name="connsiteY79" fmla="*/ 0 h 2555628"/>
              <a:gd name="connsiteX80" fmla="*/ 2080281 w 2548591"/>
              <a:gd name="connsiteY80" fmla="*/ 0 h 2555628"/>
              <a:gd name="connsiteX81" fmla="*/ 2105508 w 2548591"/>
              <a:gd name="connsiteY81" fmla="*/ 0 h 2555628"/>
              <a:gd name="connsiteX82" fmla="*/ 2548582 w 2548591"/>
              <a:gd name="connsiteY82" fmla="*/ 444296 h 2555628"/>
              <a:gd name="connsiteX83" fmla="*/ 2548582 w 2548591"/>
              <a:gd name="connsiteY83" fmla="*/ 469597 h 2555628"/>
              <a:gd name="connsiteX84" fmla="*/ 2080281 w 2548591"/>
              <a:gd name="connsiteY84" fmla="*/ 0 h 2555628"/>
              <a:gd name="connsiteX85" fmla="*/ 2218926 w 2548591"/>
              <a:gd name="connsiteY85" fmla="*/ 0 h 2555628"/>
              <a:gd name="connsiteX86" fmla="*/ 2244153 w 2548591"/>
              <a:gd name="connsiteY86" fmla="*/ 0 h 2555628"/>
              <a:gd name="connsiteX87" fmla="*/ 2548582 w 2548591"/>
              <a:gd name="connsiteY87" fmla="*/ 305270 h 2555628"/>
              <a:gd name="connsiteX88" fmla="*/ 2548582 w 2548591"/>
              <a:gd name="connsiteY88" fmla="*/ 330570 h 2555628"/>
              <a:gd name="connsiteX89" fmla="*/ 2218926 w 2548591"/>
              <a:gd name="connsiteY89" fmla="*/ 0 h 2555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2548591" h="2555628">
                <a:moveTo>
                  <a:pt x="138643" y="1"/>
                </a:moveTo>
                <a:lnTo>
                  <a:pt x="163874" y="1"/>
                </a:lnTo>
                <a:cubicBezTo>
                  <a:pt x="163874" y="1318576"/>
                  <a:pt x="1233644" y="2391168"/>
                  <a:pt x="2548463" y="2391168"/>
                </a:cubicBezTo>
                <a:lnTo>
                  <a:pt x="2548463" y="2416472"/>
                </a:lnTo>
                <a:lnTo>
                  <a:pt x="2548590" y="2416600"/>
                </a:lnTo>
                <a:cubicBezTo>
                  <a:pt x="1219755" y="2416600"/>
                  <a:pt x="138643" y="1332503"/>
                  <a:pt x="138643" y="1"/>
                </a:cubicBezTo>
                <a:close/>
                <a:moveTo>
                  <a:pt x="0" y="1"/>
                </a:moveTo>
                <a:lnTo>
                  <a:pt x="25231" y="1"/>
                </a:lnTo>
                <a:cubicBezTo>
                  <a:pt x="25231" y="1395244"/>
                  <a:pt x="1157188" y="2530324"/>
                  <a:pt x="2548591" y="2530324"/>
                </a:cubicBezTo>
                <a:lnTo>
                  <a:pt x="2548591" y="2555628"/>
                </a:lnTo>
                <a:cubicBezTo>
                  <a:pt x="1143299" y="2555628"/>
                  <a:pt x="0" y="1409172"/>
                  <a:pt x="0" y="1"/>
                </a:cubicBezTo>
                <a:close/>
                <a:moveTo>
                  <a:pt x="277411" y="1"/>
                </a:moveTo>
                <a:lnTo>
                  <a:pt x="302642" y="1"/>
                </a:lnTo>
                <a:cubicBezTo>
                  <a:pt x="302642" y="1241907"/>
                  <a:pt x="1310229" y="2252147"/>
                  <a:pt x="2548582" y="2252147"/>
                </a:cubicBezTo>
                <a:lnTo>
                  <a:pt x="2548582" y="2277444"/>
                </a:lnTo>
                <a:cubicBezTo>
                  <a:pt x="1296205" y="2277444"/>
                  <a:pt x="277411" y="1255835"/>
                  <a:pt x="277411" y="1"/>
                </a:cubicBezTo>
                <a:close/>
                <a:moveTo>
                  <a:pt x="416054" y="1"/>
                </a:moveTo>
                <a:lnTo>
                  <a:pt x="441285" y="1"/>
                </a:lnTo>
                <a:cubicBezTo>
                  <a:pt x="441285" y="1165111"/>
                  <a:pt x="1386559" y="2113119"/>
                  <a:pt x="2548589" y="2113119"/>
                </a:cubicBezTo>
                <a:lnTo>
                  <a:pt x="2548589" y="2138423"/>
                </a:lnTo>
                <a:cubicBezTo>
                  <a:pt x="1372670" y="2138423"/>
                  <a:pt x="416054" y="1179166"/>
                  <a:pt x="416054" y="1"/>
                </a:cubicBezTo>
                <a:close/>
                <a:moveTo>
                  <a:pt x="554698" y="1"/>
                </a:moveTo>
                <a:lnTo>
                  <a:pt x="579930" y="1"/>
                </a:lnTo>
                <a:cubicBezTo>
                  <a:pt x="579930" y="1088442"/>
                  <a:pt x="1463017" y="1973963"/>
                  <a:pt x="2548462" y="1973963"/>
                </a:cubicBezTo>
                <a:lnTo>
                  <a:pt x="2548462" y="1999267"/>
                </a:lnTo>
                <a:lnTo>
                  <a:pt x="2548589" y="1999394"/>
                </a:lnTo>
                <a:cubicBezTo>
                  <a:pt x="1449127" y="1999394"/>
                  <a:pt x="554698" y="1102497"/>
                  <a:pt x="554698" y="1"/>
                </a:cubicBezTo>
                <a:close/>
                <a:moveTo>
                  <a:pt x="693468" y="0"/>
                </a:moveTo>
                <a:lnTo>
                  <a:pt x="718701" y="0"/>
                </a:lnTo>
                <a:cubicBezTo>
                  <a:pt x="718701" y="1011773"/>
                  <a:pt x="1539602" y="1834942"/>
                  <a:pt x="2548583" y="1834942"/>
                </a:cubicBezTo>
                <a:lnTo>
                  <a:pt x="2548583" y="1860239"/>
                </a:lnTo>
                <a:cubicBezTo>
                  <a:pt x="1525706" y="1860239"/>
                  <a:pt x="693468" y="1025701"/>
                  <a:pt x="693468" y="0"/>
                </a:cubicBezTo>
                <a:close/>
                <a:moveTo>
                  <a:pt x="832112" y="0"/>
                </a:moveTo>
                <a:lnTo>
                  <a:pt x="857340" y="0"/>
                </a:lnTo>
                <a:cubicBezTo>
                  <a:pt x="857340" y="935105"/>
                  <a:pt x="1616059" y="1695913"/>
                  <a:pt x="2548582" y="1695913"/>
                </a:cubicBezTo>
                <a:lnTo>
                  <a:pt x="2548582" y="1721210"/>
                </a:lnTo>
                <a:cubicBezTo>
                  <a:pt x="1602170" y="1721210"/>
                  <a:pt x="832112" y="949032"/>
                  <a:pt x="832112" y="0"/>
                </a:cubicBezTo>
                <a:close/>
                <a:moveTo>
                  <a:pt x="970758" y="0"/>
                </a:moveTo>
                <a:lnTo>
                  <a:pt x="995986" y="0"/>
                </a:lnTo>
                <a:cubicBezTo>
                  <a:pt x="995986" y="858436"/>
                  <a:pt x="1692391" y="1556758"/>
                  <a:pt x="2548463" y="1556758"/>
                </a:cubicBezTo>
                <a:lnTo>
                  <a:pt x="2548463" y="1582062"/>
                </a:lnTo>
                <a:lnTo>
                  <a:pt x="2548590" y="1582189"/>
                </a:lnTo>
                <a:cubicBezTo>
                  <a:pt x="1678628" y="1582189"/>
                  <a:pt x="970758" y="872491"/>
                  <a:pt x="970758" y="0"/>
                </a:cubicBezTo>
                <a:close/>
                <a:moveTo>
                  <a:pt x="1109529" y="0"/>
                </a:moveTo>
                <a:lnTo>
                  <a:pt x="1134764" y="0"/>
                </a:lnTo>
                <a:cubicBezTo>
                  <a:pt x="1134764" y="781767"/>
                  <a:pt x="1768975" y="1417736"/>
                  <a:pt x="2548589" y="1417736"/>
                </a:cubicBezTo>
                <a:lnTo>
                  <a:pt x="2548589" y="1443033"/>
                </a:lnTo>
                <a:cubicBezTo>
                  <a:pt x="1755086" y="1443033"/>
                  <a:pt x="1109529" y="795695"/>
                  <a:pt x="1109529" y="0"/>
                </a:cubicBezTo>
                <a:close/>
                <a:moveTo>
                  <a:pt x="1248168" y="0"/>
                </a:moveTo>
                <a:lnTo>
                  <a:pt x="1273396" y="0"/>
                </a:lnTo>
                <a:cubicBezTo>
                  <a:pt x="1273396" y="705097"/>
                  <a:pt x="1845433" y="1278708"/>
                  <a:pt x="2548583" y="1278708"/>
                </a:cubicBezTo>
                <a:lnTo>
                  <a:pt x="2548583" y="1304005"/>
                </a:lnTo>
                <a:cubicBezTo>
                  <a:pt x="1831537" y="1304005"/>
                  <a:pt x="1248168" y="719026"/>
                  <a:pt x="1248168" y="0"/>
                </a:cubicBezTo>
                <a:close/>
                <a:moveTo>
                  <a:pt x="1386813" y="0"/>
                </a:moveTo>
                <a:lnTo>
                  <a:pt x="1412041" y="0"/>
                </a:lnTo>
                <a:cubicBezTo>
                  <a:pt x="1412041" y="628428"/>
                  <a:pt x="1921890" y="1139552"/>
                  <a:pt x="2548589" y="1139552"/>
                </a:cubicBezTo>
                <a:lnTo>
                  <a:pt x="2548589" y="1164857"/>
                </a:lnTo>
                <a:lnTo>
                  <a:pt x="2548589" y="1164984"/>
                </a:lnTo>
                <a:cubicBezTo>
                  <a:pt x="1908001" y="1164984"/>
                  <a:pt x="1386813" y="642356"/>
                  <a:pt x="1386813" y="0"/>
                </a:cubicBezTo>
                <a:close/>
                <a:moveTo>
                  <a:pt x="1525579" y="0"/>
                </a:moveTo>
                <a:lnTo>
                  <a:pt x="1550814" y="0"/>
                </a:lnTo>
                <a:cubicBezTo>
                  <a:pt x="1550814" y="551759"/>
                  <a:pt x="1998468" y="1000531"/>
                  <a:pt x="2548583" y="1000531"/>
                </a:cubicBezTo>
                <a:lnTo>
                  <a:pt x="2548583" y="1025828"/>
                </a:lnTo>
                <a:cubicBezTo>
                  <a:pt x="1984452" y="1025828"/>
                  <a:pt x="1525579" y="565560"/>
                  <a:pt x="1525579" y="0"/>
                </a:cubicBezTo>
                <a:close/>
                <a:moveTo>
                  <a:pt x="1664231" y="0"/>
                </a:moveTo>
                <a:lnTo>
                  <a:pt x="1689459" y="0"/>
                </a:lnTo>
                <a:cubicBezTo>
                  <a:pt x="1689459" y="474963"/>
                  <a:pt x="2074805" y="861503"/>
                  <a:pt x="2548589" y="861503"/>
                </a:cubicBezTo>
                <a:lnTo>
                  <a:pt x="2548589" y="886800"/>
                </a:lnTo>
                <a:cubicBezTo>
                  <a:pt x="2060916" y="886800"/>
                  <a:pt x="1664231" y="489019"/>
                  <a:pt x="1664231" y="0"/>
                </a:cubicBezTo>
                <a:close/>
                <a:moveTo>
                  <a:pt x="1802870" y="0"/>
                </a:moveTo>
                <a:lnTo>
                  <a:pt x="1828097" y="0"/>
                </a:lnTo>
                <a:cubicBezTo>
                  <a:pt x="1828097" y="398295"/>
                  <a:pt x="2151263" y="722347"/>
                  <a:pt x="2548583" y="722347"/>
                </a:cubicBezTo>
                <a:lnTo>
                  <a:pt x="2548583" y="747651"/>
                </a:lnTo>
                <a:lnTo>
                  <a:pt x="2548583" y="747778"/>
                </a:lnTo>
                <a:cubicBezTo>
                  <a:pt x="2137367" y="747778"/>
                  <a:pt x="1802870" y="412350"/>
                  <a:pt x="1802870" y="0"/>
                </a:cubicBezTo>
                <a:close/>
                <a:moveTo>
                  <a:pt x="1941642" y="0"/>
                </a:moveTo>
                <a:lnTo>
                  <a:pt x="1966877" y="0"/>
                </a:lnTo>
                <a:cubicBezTo>
                  <a:pt x="1966877" y="321626"/>
                  <a:pt x="2227847" y="583321"/>
                  <a:pt x="2548589" y="583321"/>
                </a:cubicBezTo>
                <a:lnTo>
                  <a:pt x="2548589" y="608622"/>
                </a:lnTo>
                <a:cubicBezTo>
                  <a:pt x="2213831" y="608622"/>
                  <a:pt x="1941642" y="335553"/>
                  <a:pt x="1941642" y="0"/>
                </a:cubicBezTo>
                <a:close/>
                <a:moveTo>
                  <a:pt x="2080281" y="0"/>
                </a:moveTo>
                <a:lnTo>
                  <a:pt x="2105508" y="0"/>
                </a:lnTo>
                <a:cubicBezTo>
                  <a:pt x="2105508" y="244957"/>
                  <a:pt x="2304298" y="444296"/>
                  <a:pt x="2548582" y="444296"/>
                </a:cubicBezTo>
                <a:lnTo>
                  <a:pt x="2548582" y="469597"/>
                </a:lnTo>
                <a:cubicBezTo>
                  <a:pt x="2290409" y="469597"/>
                  <a:pt x="2080281" y="258885"/>
                  <a:pt x="2080281" y="0"/>
                </a:cubicBezTo>
                <a:close/>
                <a:moveTo>
                  <a:pt x="2218926" y="0"/>
                </a:moveTo>
                <a:lnTo>
                  <a:pt x="2244153" y="0"/>
                </a:lnTo>
                <a:cubicBezTo>
                  <a:pt x="2244153" y="168288"/>
                  <a:pt x="2380629" y="305270"/>
                  <a:pt x="2548582" y="305270"/>
                </a:cubicBezTo>
                <a:lnTo>
                  <a:pt x="2548582" y="330570"/>
                </a:lnTo>
                <a:cubicBezTo>
                  <a:pt x="2366866" y="330570"/>
                  <a:pt x="2218926" y="182344"/>
                  <a:pt x="2218926" y="0"/>
                </a:cubicBezTo>
                <a:close/>
              </a:path>
            </a:pathLst>
          </a:custGeom>
          <a:solidFill>
            <a:schemeClr val="bg1"/>
          </a:solidFill>
          <a:ln w="7032" cap="flat">
            <a:noFill/>
            <a:prstDash val="solid"/>
            <a:miter/>
          </a:ln>
        </p:spPr>
        <p:txBody>
          <a:bodyPr rtlCol="0" anchor="ctr">
            <a:noAutofit/>
          </a:bodyPr>
          <a:lstStyle/>
          <a:p>
            <a:endParaRPr lang="en-US" dirty="0"/>
          </a:p>
        </p:txBody>
      </p:sp>
      <p:sp>
        <p:nvSpPr>
          <p:cNvPr id="33" name="Image 4" descr="preencoded.png">
            <a:extLst>
              <a:ext uri="{FF2B5EF4-FFF2-40B4-BE49-F238E27FC236}">
                <a16:creationId xmlns:a16="http://schemas.microsoft.com/office/drawing/2014/main" id="{EC46DC71-C12A-96C8-3FE2-AA95AB58B349}"/>
              </a:ext>
            </a:extLst>
          </p:cNvPr>
          <p:cNvSpPr/>
          <p:nvPr/>
        </p:nvSpPr>
        <p:spPr>
          <a:xfrm>
            <a:off x="2543868" y="0"/>
            <a:ext cx="2560340" cy="2560340"/>
          </a:xfrm>
          <a:custGeom>
            <a:avLst/>
            <a:gdLst>
              <a:gd name="connsiteX0" fmla="*/ 0 w 2560340"/>
              <a:gd name="connsiteY0" fmla="*/ 2560340 h 2560340"/>
              <a:gd name="connsiteX1" fmla="*/ 2560340 w 2560340"/>
              <a:gd name="connsiteY1" fmla="*/ 0 h 2560340"/>
              <a:gd name="connsiteX2" fmla="*/ 0 w 2560340"/>
              <a:gd name="connsiteY2" fmla="*/ 0 h 2560340"/>
              <a:gd name="connsiteX3" fmla="*/ 0 w 2560340"/>
              <a:gd name="connsiteY3" fmla="*/ 2560340 h 2560340"/>
            </a:gdLst>
            <a:ahLst/>
            <a:cxnLst>
              <a:cxn ang="0">
                <a:pos x="connsiteX0" y="connsiteY0"/>
              </a:cxn>
              <a:cxn ang="0">
                <a:pos x="connsiteX1" y="connsiteY1"/>
              </a:cxn>
              <a:cxn ang="0">
                <a:pos x="connsiteX2" y="connsiteY2"/>
              </a:cxn>
              <a:cxn ang="0">
                <a:pos x="connsiteX3" y="connsiteY3"/>
              </a:cxn>
            </a:cxnLst>
            <a:rect l="l" t="t" r="r" b="b"/>
            <a:pathLst>
              <a:path w="2560340" h="2560340">
                <a:moveTo>
                  <a:pt x="0" y="2560340"/>
                </a:moveTo>
                <a:cubicBezTo>
                  <a:pt x="1414079" y="2560340"/>
                  <a:pt x="2560340" y="1414079"/>
                  <a:pt x="2560340" y="0"/>
                </a:cubicBezTo>
                <a:lnTo>
                  <a:pt x="0" y="0"/>
                </a:lnTo>
                <a:lnTo>
                  <a:pt x="0" y="2560340"/>
                </a:lnTo>
                <a:close/>
              </a:path>
            </a:pathLst>
          </a:custGeom>
          <a:solidFill>
            <a:schemeClr val="accent3"/>
          </a:solidFill>
          <a:ln w="7052" cap="flat">
            <a:noFill/>
            <a:prstDash val="solid"/>
            <a:miter/>
          </a:ln>
        </p:spPr>
        <p:txBody>
          <a:bodyPr rtlCol="0" anchor="ctr">
            <a:noAutofit/>
          </a:bodyPr>
          <a:lstStyle/>
          <a:p>
            <a:endParaRPr lang="en-US" dirty="0"/>
          </a:p>
        </p:txBody>
      </p:sp>
      <p:sp>
        <p:nvSpPr>
          <p:cNvPr id="29" name="Freeform 70">
            <a:extLst>
              <a:ext uri="{FF2B5EF4-FFF2-40B4-BE49-F238E27FC236}">
                <a16:creationId xmlns:a16="http://schemas.microsoft.com/office/drawing/2014/main" id="{AA39EF58-54F1-4AC9-1D83-2E7DEEAAEA6A}"/>
              </a:ext>
            </a:extLst>
          </p:cNvPr>
          <p:cNvSpPr>
            <a:spLocks/>
          </p:cNvSpPr>
          <p:nvPr userDrawn="1"/>
        </p:nvSpPr>
        <p:spPr bwMode="auto">
          <a:xfrm flipH="1">
            <a:off x="2535251" y="4308466"/>
            <a:ext cx="2550984" cy="2560441"/>
          </a:xfrm>
          <a:custGeom>
            <a:avLst/>
            <a:gdLst>
              <a:gd name="T0" fmla="*/ 0 w 1079"/>
              <a:gd name="T1" fmla="*/ 1083 h 1083"/>
              <a:gd name="T2" fmla="*/ 1079 w 1079"/>
              <a:gd name="T3" fmla="*/ 1083 h 1083"/>
              <a:gd name="T4" fmla="*/ 1079 w 1079"/>
              <a:gd name="T5" fmla="*/ 0 h 1083"/>
              <a:gd name="T6" fmla="*/ 0 w 1079"/>
              <a:gd name="T7" fmla="*/ 1083 h 1083"/>
            </a:gdLst>
            <a:ahLst/>
            <a:cxnLst>
              <a:cxn ang="0">
                <a:pos x="T0" y="T1"/>
              </a:cxn>
              <a:cxn ang="0">
                <a:pos x="T2" y="T3"/>
              </a:cxn>
              <a:cxn ang="0">
                <a:pos x="T4" y="T5"/>
              </a:cxn>
              <a:cxn ang="0">
                <a:pos x="T6" y="T7"/>
              </a:cxn>
            </a:cxnLst>
            <a:rect l="0" t="0" r="r" b="b"/>
            <a:pathLst>
              <a:path w="1079" h="1083">
                <a:moveTo>
                  <a:pt x="0" y="1083"/>
                </a:moveTo>
                <a:lnTo>
                  <a:pt x="1079" y="1083"/>
                </a:lnTo>
                <a:lnTo>
                  <a:pt x="1079" y="0"/>
                </a:lnTo>
                <a:lnTo>
                  <a:pt x="0" y="1083"/>
                </a:ln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31" name="Freeform 70">
            <a:extLst>
              <a:ext uri="{FF2B5EF4-FFF2-40B4-BE49-F238E27FC236}">
                <a16:creationId xmlns:a16="http://schemas.microsoft.com/office/drawing/2014/main" id="{0C320934-59CC-4123-C7C1-FEEE89F3045F}"/>
              </a:ext>
            </a:extLst>
          </p:cNvPr>
          <p:cNvSpPr>
            <a:spLocks/>
          </p:cNvSpPr>
          <p:nvPr userDrawn="1"/>
        </p:nvSpPr>
        <p:spPr bwMode="auto">
          <a:xfrm flipH="1">
            <a:off x="-10617" y="4308466"/>
            <a:ext cx="2550984" cy="2560441"/>
          </a:xfrm>
          <a:custGeom>
            <a:avLst/>
            <a:gdLst>
              <a:gd name="T0" fmla="*/ 0 w 1079"/>
              <a:gd name="T1" fmla="*/ 1083 h 1083"/>
              <a:gd name="T2" fmla="*/ 1079 w 1079"/>
              <a:gd name="T3" fmla="*/ 1083 h 1083"/>
              <a:gd name="T4" fmla="*/ 1079 w 1079"/>
              <a:gd name="T5" fmla="*/ 0 h 1083"/>
              <a:gd name="T6" fmla="*/ 0 w 1079"/>
              <a:gd name="T7" fmla="*/ 1083 h 1083"/>
            </a:gdLst>
            <a:ahLst/>
            <a:cxnLst>
              <a:cxn ang="0">
                <a:pos x="T0" y="T1"/>
              </a:cxn>
              <a:cxn ang="0">
                <a:pos x="T2" y="T3"/>
              </a:cxn>
              <a:cxn ang="0">
                <a:pos x="T4" y="T5"/>
              </a:cxn>
              <a:cxn ang="0">
                <a:pos x="T6" y="T7"/>
              </a:cxn>
            </a:cxnLst>
            <a:rect l="0" t="0" r="r" b="b"/>
            <a:pathLst>
              <a:path w="1079" h="1083">
                <a:moveTo>
                  <a:pt x="0" y="1083"/>
                </a:moveTo>
                <a:lnTo>
                  <a:pt x="1079" y="1083"/>
                </a:lnTo>
                <a:lnTo>
                  <a:pt x="1079" y="0"/>
                </a:lnTo>
                <a:lnTo>
                  <a:pt x="0" y="1083"/>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6" name="Slide Number Placeholder 5"/>
          <p:cNvSpPr>
            <a:spLocks noGrp="1"/>
          </p:cNvSpPr>
          <p:nvPr>
            <p:ph type="sldNum" sz="quarter" idx="12"/>
          </p:nvPr>
        </p:nvSpPr>
        <p:spPr/>
        <p:txBody>
          <a:bodyPr>
            <a:noAutofit/>
          </a:bodyPr>
          <a:lstStyle/>
          <a:p>
            <a:fld id="{48F63A3B-78C7-47BE-AE5E-E10140E04643}" type="slidenum">
              <a:rPr lang="en-US" dirty="0"/>
              <a:t>‹#›</a:t>
            </a:fld>
            <a:endParaRPr lang="en-US" dirty="0"/>
          </a:p>
        </p:txBody>
      </p:sp>
    </p:spTree>
    <p:extLst>
      <p:ext uri="{BB962C8B-B14F-4D97-AF65-F5344CB8AC3E}">
        <p14:creationId xmlns:p14="http://schemas.microsoft.com/office/powerpoint/2010/main" val="571216725"/>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eam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CC43996-DAC9-130F-CB05-4A8A90381D37}"/>
              </a:ext>
            </a:extLst>
          </p:cNvPr>
          <p:cNvSpPr/>
          <p:nvPr userDrawn="1"/>
        </p:nvSpPr>
        <p:spPr>
          <a:xfrm>
            <a:off x="-24064" y="3390900"/>
            <a:ext cx="12216063" cy="34671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450" dirty="0"/>
          </a:p>
        </p:txBody>
      </p:sp>
      <p:sp>
        <p:nvSpPr>
          <p:cNvPr id="2" name="Title 1">
            <a:extLst>
              <a:ext uri="{FF2B5EF4-FFF2-40B4-BE49-F238E27FC236}">
                <a16:creationId xmlns:a16="http://schemas.microsoft.com/office/drawing/2014/main" id="{EA04E8AF-9DFE-7077-DB36-941F6490BAD8}"/>
              </a:ext>
            </a:extLst>
          </p:cNvPr>
          <p:cNvSpPr>
            <a:spLocks noGrp="1"/>
          </p:cNvSpPr>
          <p:nvPr>
            <p:ph type="title"/>
          </p:nvPr>
        </p:nvSpPr>
        <p:spPr/>
        <p:txBody>
          <a:bodyPr>
            <a:noAutofit/>
          </a:bodyPr>
          <a:lstStyle>
            <a:lvl1pPr>
              <a:lnSpc>
                <a:spcPct val="100000"/>
              </a:lnSpc>
              <a:defRPr/>
            </a:lvl1pPr>
          </a:lstStyle>
          <a:p>
            <a:r>
              <a:rPr lang="en-US" dirty="0"/>
              <a:t>Click to edit Master title style</a:t>
            </a:r>
          </a:p>
        </p:txBody>
      </p:sp>
      <p:sp>
        <p:nvSpPr>
          <p:cNvPr id="4" name="Footer Placeholder 3">
            <a:extLst>
              <a:ext uri="{FF2B5EF4-FFF2-40B4-BE49-F238E27FC236}">
                <a16:creationId xmlns:a16="http://schemas.microsoft.com/office/drawing/2014/main" id="{43B58B80-D2DB-A0A1-0362-1157E9087574}"/>
              </a:ext>
            </a:extLst>
          </p:cNvPr>
          <p:cNvSpPr>
            <a:spLocks noGrp="1"/>
          </p:cNvSpPr>
          <p:nvPr>
            <p:ph type="ftr" sz="quarter" idx="11"/>
          </p:nvPr>
        </p:nvSpPr>
        <p:spPr/>
        <p:txBody>
          <a:bodyPr>
            <a:noAutofit/>
          </a:bodyPr>
          <a:lstStyle/>
          <a:p>
            <a:r>
              <a:rPr lang="en-US"/>
              <a:t>Presentation title</a:t>
            </a:r>
            <a:endParaRPr lang="en-US" dirty="0"/>
          </a:p>
        </p:txBody>
      </p:sp>
      <p:sp>
        <p:nvSpPr>
          <p:cNvPr id="5" name="Slide Number Placeholder 4">
            <a:extLst>
              <a:ext uri="{FF2B5EF4-FFF2-40B4-BE49-F238E27FC236}">
                <a16:creationId xmlns:a16="http://schemas.microsoft.com/office/drawing/2014/main" id="{B62C22E6-000A-05BA-5872-EF37F029AB00}"/>
              </a:ext>
            </a:extLst>
          </p:cNvPr>
          <p:cNvSpPr>
            <a:spLocks noGrp="1"/>
          </p:cNvSpPr>
          <p:nvPr>
            <p:ph type="sldNum" sz="quarter" idx="12"/>
          </p:nvPr>
        </p:nvSpPr>
        <p:spPr/>
        <p:txBody>
          <a:bodyPr>
            <a:noAutofit/>
          </a:bodyPr>
          <a:lstStyle/>
          <a:p>
            <a:fld id="{48F63A3B-78C7-47BE-AE5E-E10140E04643}" type="slidenum">
              <a:rPr lang="en-US" smtClean="0"/>
              <a:pPr/>
              <a:t>‹#›</a:t>
            </a:fld>
            <a:endParaRPr lang="en-US" dirty="0"/>
          </a:p>
        </p:txBody>
      </p:sp>
      <p:sp>
        <p:nvSpPr>
          <p:cNvPr id="17" name="Picture Placeholder 16">
            <a:extLst>
              <a:ext uri="{FF2B5EF4-FFF2-40B4-BE49-F238E27FC236}">
                <a16:creationId xmlns:a16="http://schemas.microsoft.com/office/drawing/2014/main" id="{6AAAFB85-16C0-836A-1D0D-E65277CC341D}"/>
              </a:ext>
            </a:extLst>
          </p:cNvPr>
          <p:cNvSpPr>
            <a:spLocks noGrp="1"/>
          </p:cNvSpPr>
          <p:nvPr>
            <p:ph type="pic" sz="quarter" idx="13"/>
          </p:nvPr>
        </p:nvSpPr>
        <p:spPr>
          <a:xfrm>
            <a:off x="758905" y="2392023"/>
            <a:ext cx="2596896" cy="2596896"/>
          </a:xfrm>
          <a:solidFill>
            <a:schemeClr val="accent4">
              <a:lumMod val="60000"/>
              <a:lumOff val="40000"/>
            </a:schemeClr>
          </a:solidFill>
          <a:ln>
            <a:noFill/>
          </a:ln>
        </p:spPr>
        <p:txBody>
          <a:bodyPr anchor="ctr">
            <a:noAutofit/>
          </a:bodyPr>
          <a:lstStyle>
            <a:lvl1pPr marL="0" indent="0" algn="ctr">
              <a:buNone/>
              <a:defRPr sz="1400"/>
            </a:lvl1pPr>
          </a:lstStyle>
          <a:p>
            <a:endParaRPr lang="en-US" dirty="0"/>
          </a:p>
        </p:txBody>
      </p:sp>
      <p:sp>
        <p:nvSpPr>
          <p:cNvPr id="19" name="Text Placeholder 18">
            <a:extLst>
              <a:ext uri="{FF2B5EF4-FFF2-40B4-BE49-F238E27FC236}">
                <a16:creationId xmlns:a16="http://schemas.microsoft.com/office/drawing/2014/main" id="{FB04BFFD-8D76-D31F-232F-38A7065ACAF3}"/>
              </a:ext>
            </a:extLst>
          </p:cNvPr>
          <p:cNvSpPr>
            <a:spLocks noGrp="1"/>
          </p:cNvSpPr>
          <p:nvPr>
            <p:ph type="body" sz="quarter" idx="14" hasCustomPrompt="1"/>
          </p:nvPr>
        </p:nvSpPr>
        <p:spPr>
          <a:xfrm>
            <a:off x="758905" y="4989515"/>
            <a:ext cx="2598737" cy="1109662"/>
          </a:xfrm>
          <a:solidFill>
            <a:schemeClr val="bg1"/>
          </a:solidFill>
        </p:spPr>
        <p:txBody>
          <a:bodyPr lIns="0" tIns="274320" rIns="0" anchor="t">
            <a:noAutofit/>
          </a:bodyPr>
          <a:lstStyle>
            <a:lvl1pPr marL="0" indent="0" algn="ctr">
              <a:spcBef>
                <a:spcPts val="0"/>
              </a:spcBef>
              <a:buNone/>
              <a:defRPr sz="1800" b="1" cap="all" baseline="0">
                <a:solidFill>
                  <a:schemeClr val="accent6"/>
                </a:solidFill>
                <a:latin typeface="Arial" panose="020B0604020202020204" pitchFamily="34" charset="0"/>
                <a:cs typeface="Arial" panose="020B0604020202020204" pitchFamily="34" charset="0"/>
              </a:defRPr>
            </a:lvl1pPr>
          </a:lstStyle>
          <a:p>
            <a:pPr lvl="0"/>
            <a:r>
              <a:rPr lang="en-US" dirty="0"/>
              <a:t>Name</a:t>
            </a:r>
          </a:p>
        </p:txBody>
      </p:sp>
      <p:sp>
        <p:nvSpPr>
          <p:cNvPr id="21" name="Text Placeholder 20">
            <a:extLst>
              <a:ext uri="{FF2B5EF4-FFF2-40B4-BE49-F238E27FC236}">
                <a16:creationId xmlns:a16="http://schemas.microsoft.com/office/drawing/2014/main" id="{75A2E03A-AFB4-3868-FAB5-A24228FA8A04}"/>
              </a:ext>
            </a:extLst>
          </p:cNvPr>
          <p:cNvSpPr>
            <a:spLocks noGrp="1"/>
          </p:cNvSpPr>
          <p:nvPr>
            <p:ph type="body" sz="quarter" idx="15" hasCustomPrompt="1"/>
          </p:nvPr>
        </p:nvSpPr>
        <p:spPr>
          <a:xfrm>
            <a:off x="916885" y="5599755"/>
            <a:ext cx="2283472" cy="365125"/>
          </a:xfrm>
        </p:spPr>
        <p:txBody>
          <a:bodyPr anchor="ctr">
            <a:noAutofit/>
          </a:bodyPr>
          <a:lstStyle>
            <a:lvl1pPr marL="0" indent="0" algn="ctr">
              <a:buNone/>
              <a:defRPr sz="1400"/>
            </a:lvl1pPr>
          </a:lstStyle>
          <a:p>
            <a:pPr lvl="0"/>
            <a:r>
              <a:rPr lang="en-US" dirty="0"/>
              <a:t>Title</a:t>
            </a:r>
          </a:p>
        </p:txBody>
      </p:sp>
      <p:sp>
        <p:nvSpPr>
          <p:cNvPr id="23" name="Picture Placeholder 16">
            <a:extLst>
              <a:ext uri="{FF2B5EF4-FFF2-40B4-BE49-F238E27FC236}">
                <a16:creationId xmlns:a16="http://schemas.microsoft.com/office/drawing/2014/main" id="{FBADCD1B-D9E0-EA12-0DD5-22E5C60E5D6B}"/>
              </a:ext>
            </a:extLst>
          </p:cNvPr>
          <p:cNvSpPr>
            <a:spLocks noGrp="1"/>
          </p:cNvSpPr>
          <p:nvPr>
            <p:ph type="pic" sz="quarter" idx="17"/>
          </p:nvPr>
        </p:nvSpPr>
        <p:spPr>
          <a:xfrm>
            <a:off x="3517361" y="2392619"/>
            <a:ext cx="2596896" cy="2596896"/>
          </a:xfrm>
          <a:solidFill>
            <a:schemeClr val="accent4">
              <a:lumMod val="60000"/>
              <a:lumOff val="40000"/>
            </a:schemeClr>
          </a:solidFill>
          <a:ln>
            <a:noFill/>
          </a:ln>
        </p:spPr>
        <p:txBody>
          <a:bodyPr anchor="ctr">
            <a:noAutofit/>
          </a:bodyPr>
          <a:lstStyle>
            <a:lvl1pPr marL="0" indent="0" algn="ctr">
              <a:buNone/>
              <a:defRPr sz="1400"/>
            </a:lvl1pPr>
          </a:lstStyle>
          <a:p>
            <a:endParaRPr lang="en-US" dirty="0"/>
          </a:p>
        </p:txBody>
      </p:sp>
      <p:sp>
        <p:nvSpPr>
          <p:cNvPr id="22" name="Text Placeholder 18">
            <a:extLst>
              <a:ext uri="{FF2B5EF4-FFF2-40B4-BE49-F238E27FC236}">
                <a16:creationId xmlns:a16="http://schemas.microsoft.com/office/drawing/2014/main" id="{AD33972D-9092-4B3C-A699-07849068AF1D}"/>
              </a:ext>
            </a:extLst>
          </p:cNvPr>
          <p:cNvSpPr>
            <a:spLocks noGrp="1"/>
          </p:cNvSpPr>
          <p:nvPr>
            <p:ph type="body" sz="quarter" idx="16" hasCustomPrompt="1"/>
          </p:nvPr>
        </p:nvSpPr>
        <p:spPr>
          <a:xfrm>
            <a:off x="3516747" y="4990111"/>
            <a:ext cx="2598737" cy="1109662"/>
          </a:xfrm>
          <a:solidFill>
            <a:schemeClr val="bg1"/>
          </a:solidFill>
        </p:spPr>
        <p:txBody>
          <a:bodyPr lIns="0" tIns="274320" rIns="0" anchor="t">
            <a:noAutofit/>
          </a:bodyPr>
          <a:lstStyle>
            <a:lvl1pPr marL="0" indent="0" algn="ctr">
              <a:spcBef>
                <a:spcPts val="0"/>
              </a:spcBef>
              <a:buNone/>
              <a:defRPr sz="1800" b="1" cap="all" baseline="0">
                <a:solidFill>
                  <a:schemeClr val="accent6"/>
                </a:solidFill>
                <a:latin typeface="Arial" panose="020B0604020202020204" pitchFamily="34" charset="0"/>
                <a:cs typeface="Arial" panose="020B0604020202020204" pitchFamily="34" charset="0"/>
              </a:defRPr>
            </a:lvl1pPr>
          </a:lstStyle>
          <a:p>
            <a:pPr lvl="0"/>
            <a:r>
              <a:rPr lang="en-US" dirty="0"/>
              <a:t>Name</a:t>
            </a:r>
          </a:p>
        </p:txBody>
      </p:sp>
      <p:sp>
        <p:nvSpPr>
          <p:cNvPr id="24" name="Text Placeholder 20">
            <a:extLst>
              <a:ext uri="{FF2B5EF4-FFF2-40B4-BE49-F238E27FC236}">
                <a16:creationId xmlns:a16="http://schemas.microsoft.com/office/drawing/2014/main" id="{B54F15B1-EAC3-0113-6737-C64480876C5F}"/>
              </a:ext>
            </a:extLst>
          </p:cNvPr>
          <p:cNvSpPr>
            <a:spLocks noGrp="1"/>
          </p:cNvSpPr>
          <p:nvPr>
            <p:ph type="body" sz="quarter" idx="18" hasCustomPrompt="1"/>
          </p:nvPr>
        </p:nvSpPr>
        <p:spPr>
          <a:xfrm>
            <a:off x="3674073" y="5600351"/>
            <a:ext cx="2283472" cy="365125"/>
          </a:xfrm>
        </p:spPr>
        <p:txBody>
          <a:bodyPr anchor="ctr">
            <a:noAutofit/>
          </a:bodyPr>
          <a:lstStyle>
            <a:lvl1pPr marL="0" indent="0" algn="ctr">
              <a:buNone/>
              <a:defRPr sz="1400"/>
            </a:lvl1pPr>
          </a:lstStyle>
          <a:p>
            <a:pPr lvl="0"/>
            <a:r>
              <a:rPr lang="en-US" dirty="0"/>
              <a:t>Title</a:t>
            </a:r>
          </a:p>
        </p:txBody>
      </p:sp>
      <p:sp>
        <p:nvSpPr>
          <p:cNvPr id="26" name="Picture Placeholder 16">
            <a:extLst>
              <a:ext uri="{FF2B5EF4-FFF2-40B4-BE49-F238E27FC236}">
                <a16:creationId xmlns:a16="http://schemas.microsoft.com/office/drawing/2014/main" id="{FCEED0A5-9A71-D54A-91FC-264BD71DDED3}"/>
              </a:ext>
            </a:extLst>
          </p:cNvPr>
          <p:cNvSpPr>
            <a:spLocks noGrp="1"/>
          </p:cNvSpPr>
          <p:nvPr>
            <p:ph type="pic" sz="quarter" idx="20"/>
          </p:nvPr>
        </p:nvSpPr>
        <p:spPr>
          <a:xfrm>
            <a:off x="6275817" y="2393215"/>
            <a:ext cx="2596896" cy="2596896"/>
          </a:xfrm>
          <a:solidFill>
            <a:schemeClr val="accent4">
              <a:lumMod val="60000"/>
              <a:lumOff val="40000"/>
            </a:schemeClr>
          </a:solidFill>
          <a:ln>
            <a:noFill/>
          </a:ln>
        </p:spPr>
        <p:txBody>
          <a:bodyPr anchor="ctr">
            <a:noAutofit/>
          </a:bodyPr>
          <a:lstStyle>
            <a:lvl1pPr marL="0" indent="0" algn="ctr">
              <a:buNone/>
              <a:defRPr sz="1400"/>
            </a:lvl1pPr>
          </a:lstStyle>
          <a:p>
            <a:endParaRPr lang="en-US" dirty="0"/>
          </a:p>
        </p:txBody>
      </p:sp>
      <p:sp>
        <p:nvSpPr>
          <p:cNvPr id="25" name="Text Placeholder 18">
            <a:extLst>
              <a:ext uri="{FF2B5EF4-FFF2-40B4-BE49-F238E27FC236}">
                <a16:creationId xmlns:a16="http://schemas.microsoft.com/office/drawing/2014/main" id="{F44A0C74-A714-A8C2-69D2-74CAD68037A5}"/>
              </a:ext>
            </a:extLst>
          </p:cNvPr>
          <p:cNvSpPr>
            <a:spLocks noGrp="1"/>
          </p:cNvSpPr>
          <p:nvPr>
            <p:ph type="body" sz="quarter" idx="19" hasCustomPrompt="1"/>
          </p:nvPr>
        </p:nvSpPr>
        <p:spPr>
          <a:xfrm>
            <a:off x="6274589" y="4990707"/>
            <a:ext cx="2598737" cy="1109662"/>
          </a:xfrm>
          <a:solidFill>
            <a:schemeClr val="bg1"/>
          </a:solidFill>
        </p:spPr>
        <p:txBody>
          <a:bodyPr lIns="0" tIns="274320" rIns="0" anchor="t">
            <a:noAutofit/>
          </a:bodyPr>
          <a:lstStyle>
            <a:lvl1pPr marL="0" indent="0" algn="ctr">
              <a:spcBef>
                <a:spcPts val="0"/>
              </a:spcBef>
              <a:buNone/>
              <a:defRPr sz="1800" b="1" cap="all" baseline="0">
                <a:solidFill>
                  <a:schemeClr val="accent6"/>
                </a:solidFill>
                <a:latin typeface="Arial" panose="020B0604020202020204" pitchFamily="34" charset="0"/>
                <a:cs typeface="Arial" panose="020B0604020202020204" pitchFamily="34" charset="0"/>
              </a:defRPr>
            </a:lvl1pPr>
          </a:lstStyle>
          <a:p>
            <a:pPr lvl="0"/>
            <a:r>
              <a:rPr lang="en-US" dirty="0"/>
              <a:t>Name</a:t>
            </a:r>
          </a:p>
        </p:txBody>
      </p:sp>
      <p:sp>
        <p:nvSpPr>
          <p:cNvPr id="27" name="Text Placeholder 20">
            <a:extLst>
              <a:ext uri="{FF2B5EF4-FFF2-40B4-BE49-F238E27FC236}">
                <a16:creationId xmlns:a16="http://schemas.microsoft.com/office/drawing/2014/main" id="{552F4682-3F02-2A70-A285-FB2D1822A4D6}"/>
              </a:ext>
            </a:extLst>
          </p:cNvPr>
          <p:cNvSpPr>
            <a:spLocks noGrp="1"/>
          </p:cNvSpPr>
          <p:nvPr>
            <p:ph type="body" sz="quarter" idx="21" hasCustomPrompt="1"/>
          </p:nvPr>
        </p:nvSpPr>
        <p:spPr>
          <a:xfrm>
            <a:off x="6432529" y="5600947"/>
            <a:ext cx="2283472" cy="365125"/>
          </a:xfrm>
        </p:spPr>
        <p:txBody>
          <a:bodyPr anchor="ctr">
            <a:noAutofit/>
          </a:bodyPr>
          <a:lstStyle>
            <a:lvl1pPr marL="0" indent="0" algn="ctr">
              <a:buNone/>
              <a:defRPr sz="1400"/>
            </a:lvl1pPr>
          </a:lstStyle>
          <a:p>
            <a:pPr lvl="0"/>
            <a:r>
              <a:rPr lang="en-US" dirty="0"/>
              <a:t>Title</a:t>
            </a:r>
          </a:p>
        </p:txBody>
      </p:sp>
      <p:sp>
        <p:nvSpPr>
          <p:cNvPr id="29" name="Picture Placeholder 16">
            <a:extLst>
              <a:ext uri="{FF2B5EF4-FFF2-40B4-BE49-F238E27FC236}">
                <a16:creationId xmlns:a16="http://schemas.microsoft.com/office/drawing/2014/main" id="{4F0F5D16-7316-B120-F378-E3D492FEEB9C}"/>
              </a:ext>
            </a:extLst>
          </p:cNvPr>
          <p:cNvSpPr>
            <a:spLocks noGrp="1"/>
          </p:cNvSpPr>
          <p:nvPr>
            <p:ph type="pic" sz="quarter" idx="23"/>
          </p:nvPr>
        </p:nvSpPr>
        <p:spPr>
          <a:xfrm>
            <a:off x="9034272" y="2393215"/>
            <a:ext cx="2596896" cy="2596896"/>
          </a:xfrm>
          <a:solidFill>
            <a:schemeClr val="accent4">
              <a:lumMod val="60000"/>
              <a:lumOff val="40000"/>
            </a:schemeClr>
          </a:solidFill>
          <a:ln>
            <a:noFill/>
          </a:ln>
        </p:spPr>
        <p:txBody>
          <a:bodyPr anchor="ctr">
            <a:noAutofit/>
          </a:bodyPr>
          <a:lstStyle>
            <a:lvl1pPr marL="0" indent="0" algn="ctr">
              <a:buNone/>
              <a:defRPr sz="1400"/>
            </a:lvl1pPr>
          </a:lstStyle>
          <a:p>
            <a:endParaRPr lang="en-US" dirty="0"/>
          </a:p>
        </p:txBody>
      </p:sp>
      <p:sp>
        <p:nvSpPr>
          <p:cNvPr id="28" name="Text Placeholder 18">
            <a:extLst>
              <a:ext uri="{FF2B5EF4-FFF2-40B4-BE49-F238E27FC236}">
                <a16:creationId xmlns:a16="http://schemas.microsoft.com/office/drawing/2014/main" id="{47AC9724-9FC2-62FA-0DE7-3F9FE9B67A34}"/>
              </a:ext>
            </a:extLst>
          </p:cNvPr>
          <p:cNvSpPr>
            <a:spLocks noGrp="1"/>
          </p:cNvSpPr>
          <p:nvPr>
            <p:ph type="body" sz="quarter" idx="22" hasCustomPrompt="1"/>
          </p:nvPr>
        </p:nvSpPr>
        <p:spPr>
          <a:xfrm>
            <a:off x="9032431" y="4990707"/>
            <a:ext cx="2598737" cy="1109662"/>
          </a:xfrm>
          <a:solidFill>
            <a:schemeClr val="bg1"/>
          </a:solidFill>
        </p:spPr>
        <p:txBody>
          <a:bodyPr lIns="0" tIns="274320" rIns="0" anchor="t">
            <a:noAutofit/>
          </a:bodyPr>
          <a:lstStyle>
            <a:lvl1pPr marL="0" indent="0" algn="ctr">
              <a:spcBef>
                <a:spcPts val="0"/>
              </a:spcBef>
              <a:buNone/>
              <a:defRPr sz="1800" b="1" cap="all" baseline="0">
                <a:solidFill>
                  <a:schemeClr val="accent6"/>
                </a:solidFill>
                <a:latin typeface="Arial" panose="020B0604020202020204" pitchFamily="34" charset="0"/>
                <a:cs typeface="Arial" panose="020B0604020202020204" pitchFamily="34" charset="0"/>
              </a:defRPr>
            </a:lvl1pPr>
          </a:lstStyle>
          <a:p>
            <a:pPr lvl="0"/>
            <a:r>
              <a:rPr lang="en-US" dirty="0"/>
              <a:t>Name</a:t>
            </a:r>
          </a:p>
        </p:txBody>
      </p:sp>
      <p:sp>
        <p:nvSpPr>
          <p:cNvPr id="30" name="Text Placeholder 20">
            <a:extLst>
              <a:ext uri="{FF2B5EF4-FFF2-40B4-BE49-F238E27FC236}">
                <a16:creationId xmlns:a16="http://schemas.microsoft.com/office/drawing/2014/main" id="{114EE337-FC29-F325-E528-A3F809B28B5B}"/>
              </a:ext>
            </a:extLst>
          </p:cNvPr>
          <p:cNvSpPr>
            <a:spLocks noGrp="1"/>
          </p:cNvSpPr>
          <p:nvPr>
            <p:ph type="body" sz="quarter" idx="24" hasCustomPrompt="1"/>
          </p:nvPr>
        </p:nvSpPr>
        <p:spPr>
          <a:xfrm>
            <a:off x="9190984" y="5600947"/>
            <a:ext cx="2283472" cy="365125"/>
          </a:xfrm>
        </p:spPr>
        <p:txBody>
          <a:bodyPr anchor="ctr">
            <a:noAutofit/>
          </a:bodyPr>
          <a:lstStyle>
            <a:lvl1pPr marL="0" indent="0" algn="ctr">
              <a:buNone/>
              <a:defRPr sz="1400"/>
            </a:lvl1pPr>
          </a:lstStyle>
          <a:p>
            <a:pPr lvl="0"/>
            <a:r>
              <a:rPr lang="en-US" dirty="0"/>
              <a:t>Title</a:t>
            </a:r>
          </a:p>
        </p:txBody>
      </p:sp>
    </p:spTree>
    <p:extLst>
      <p:ext uri="{BB962C8B-B14F-4D97-AF65-F5344CB8AC3E}">
        <p14:creationId xmlns:p14="http://schemas.microsoft.com/office/powerpoint/2010/main" val="144395386"/>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eam x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04E8AF-9DFE-7077-DB36-941F6490BAD8}"/>
              </a:ext>
            </a:extLst>
          </p:cNvPr>
          <p:cNvSpPr>
            <a:spLocks noGrp="1"/>
          </p:cNvSpPr>
          <p:nvPr>
            <p:ph type="title"/>
          </p:nvPr>
        </p:nvSpPr>
        <p:spPr>
          <a:xfrm>
            <a:off x="758952" y="539496"/>
            <a:ext cx="10671048" cy="768096"/>
          </a:xfrm>
        </p:spPr>
        <p:txBody>
          <a:bodyPr>
            <a:noAutofit/>
          </a:bodyPr>
          <a:lstStyle>
            <a:lvl1pPr>
              <a:lnSpc>
                <a:spcPct val="100000"/>
              </a:lnSpc>
              <a:defRPr/>
            </a:lvl1pPr>
          </a:lstStyle>
          <a:p>
            <a:r>
              <a:rPr lang="en-US" dirty="0"/>
              <a:t>Click to edit Master title style</a:t>
            </a:r>
          </a:p>
        </p:txBody>
      </p:sp>
      <p:sp>
        <p:nvSpPr>
          <p:cNvPr id="4" name="Footer Placeholder 3">
            <a:extLst>
              <a:ext uri="{FF2B5EF4-FFF2-40B4-BE49-F238E27FC236}">
                <a16:creationId xmlns:a16="http://schemas.microsoft.com/office/drawing/2014/main" id="{43B58B80-D2DB-A0A1-0362-1157E9087574}"/>
              </a:ext>
            </a:extLst>
          </p:cNvPr>
          <p:cNvSpPr>
            <a:spLocks noGrp="1"/>
          </p:cNvSpPr>
          <p:nvPr>
            <p:ph type="ftr" sz="quarter" idx="11"/>
          </p:nvPr>
        </p:nvSpPr>
        <p:spPr/>
        <p:txBody>
          <a:bodyPr>
            <a:noAutofit/>
          </a:bodyPr>
          <a:lstStyle/>
          <a:p>
            <a:r>
              <a:rPr lang="en-US"/>
              <a:t>Presentation title</a:t>
            </a:r>
            <a:endParaRPr lang="en-US" dirty="0"/>
          </a:p>
        </p:txBody>
      </p:sp>
      <p:sp>
        <p:nvSpPr>
          <p:cNvPr id="5" name="Slide Number Placeholder 4">
            <a:extLst>
              <a:ext uri="{FF2B5EF4-FFF2-40B4-BE49-F238E27FC236}">
                <a16:creationId xmlns:a16="http://schemas.microsoft.com/office/drawing/2014/main" id="{B62C22E6-000A-05BA-5872-EF37F029AB00}"/>
              </a:ext>
            </a:extLst>
          </p:cNvPr>
          <p:cNvSpPr>
            <a:spLocks noGrp="1"/>
          </p:cNvSpPr>
          <p:nvPr>
            <p:ph type="sldNum" sz="quarter" idx="12"/>
          </p:nvPr>
        </p:nvSpPr>
        <p:spPr/>
        <p:txBody>
          <a:bodyPr>
            <a:noAutofit/>
          </a:bodyPr>
          <a:lstStyle/>
          <a:p>
            <a:fld id="{48F63A3B-78C7-47BE-AE5E-E10140E04643}" type="slidenum">
              <a:rPr lang="en-US" smtClean="0"/>
              <a:pPr/>
              <a:t>‹#›</a:t>
            </a:fld>
            <a:endParaRPr lang="en-US" dirty="0"/>
          </a:p>
        </p:txBody>
      </p:sp>
      <p:sp>
        <p:nvSpPr>
          <p:cNvPr id="17" name="Picture Placeholder 16">
            <a:extLst>
              <a:ext uri="{FF2B5EF4-FFF2-40B4-BE49-F238E27FC236}">
                <a16:creationId xmlns:a16="http://schemas.microsoft.com/office/drawing/2014/main" id="{6AAAFB85-16C0-836A-1D0D-E65277CC341D}"/>
              </a:ext>
            </a:extLst>
          </p:cNvPr>
          <p:cNvSpPr>
            <a:spLocks noGrp="1"/>
          </p:cNvSpPr>
          <p:nvPr>
            <p:ph type="pic" sz="quarter" idx="13"/>
          </p:nvPr>
        </p:nvSpPr>
        <p:spPr>
          <a:xfrm>
            <a:off x="1271016" y="1545336"/>
            <a:ext cx="2029968" cy="1828800"/>
          </a:xfrm>
          <a:solidFill>
            <a:schemeClr val="accent4">
              <a:lumMod val="60000"/>
              <a:lumOff val="40000"/>
            </a:schemeClr>
          </a:solidFill>
          <a:ln>
            <a:noFill/>
          </a:ln>
        </p:spPr>
        <p:txBody>
          <a:bodyPr anchor="ctr">
            <a:noAutofit/>
          </a:bodyPr>
          <a:lstStyle>
            <a:lvl1pPr marL="0" indent="0" algn="ctr">
              <a:buNone/>
              <a:defRPr sz="1400"/>
            </a:lvl1pPr>
          </a:lstStyle>
          <a:p>
            <a:endParaRPr lang="en-US" dirty="0"/>
          </a:p>
        </p:txBody>
      </p:sp>
      <p:sp>
        <p:nvSpPr>
          <p:cNvPr id="19" name="Text Placeholder 18">
            <a:extLst>
              <a:ext uri="{FF2B5EF4-FFF2-40B4-BE49-F238E27FC236}">
                <a16:creationId xmlns:a16="http://schemas.microsoft.com/office/drawing/2014/main" id="{FB04BFFD-8D76-D31F-232F-38A7065ACAF3}"/>
              </a:ext>
            </a:extLst>
          </p:cNvPr>
          <p:cNvSpPr>
            <a:spLocks noGrp="1"/>
          </p:cNvSpPr>
          <p:nvPr>
            <p:ph type="body" sz="quarter" idx="14" hasCustomPrompt="1"/>
          </p:nvPr>
        </p:nvSpPr>
        <p:spPr>
          <a:xfrm>
            <a:off x="1271016" y="3191256"/>
            <a:ext cx="2029968" cy="694944"/>
          </a:xfrm>
          <a:solidFill>
            <a:schemeClr val="accent4"/>
          </a:solidFill>
        </p:spPr>
        <p:txBody>
          <a:bodyPr lIns="0" tIns="155448" rIns="0" anchor="t">
            <a:noAutofit/>
          </a:bodyPr>
          <a:lstStyle>
            <a:lvl1pPr marL="0" indent="0" algn="ctr">
              <a:spcBef>
                <a:spcPts val="0"/>
              </a:spcBef>
              <a:buNone/>
              <a:defRPr sz="1400" b="1" cap="all" spc="20" baseline="0">
                <a:solidFill>
                  <a:schemeClr val="accent6"/>
                </a:solidFill>
                <a:latin typeface="Arial" panose="020B0604020202020204" pitchFamily="34" charset="0"/>
                <a:cs typeface="Arial" panose="020B0604020202020204" pitchFamily="34" charset="0"/>
              </a:defRPr>
            </a:lvl1pPr>
          </a:lstStyle>
          <a:p>
            <a:pPr lvl="0"/>
            <a:r>
              <a:rPr lang="en-US" dirty="0"/>
              <a:t>Name</a:t>
            </a:r>
          </a:p>
        </p:txBody>
      </p:sp>
      <p:sp>
        <p:nvSpPr>
          <p:cNvPr id="21" name="Text Placeholder 20">
            <a:extLst>
              <a:ext uri="{FF2B5EF4-FFF2-40B4-BE49-F238E27FC236}">
                <a16:creationId xmlns:a16="http://schemas.microsoft.com/office/drawing/2014/main" id="{75A2E03A-AFB4-3868-FAB5-A24228FA8A04}"/>
              </a:ext>
            </a:extLst>
          </p:cNvPr>
          <p:cNvSpPr>
            <a:spLocks noGrp="1"/>
          </p:cNvSpPr>
          <p:nvPr>
            <p:ph type="body" sz="quarter" idx="15" hasCustomPrompt="1"/>
          </p:nvPr>
        </p:nvSpPr>
        <p:spPr>
          <a:xfrm>
            <a:off x="1271016" y="3616960"/>
            <a:ext cx="2029968" cy="182880"/>
          </a:xfrm>
        </p:spPr>
        <p:txBody>
          <a:bodyPr anchor="ctr">
            <a:noAutofit/>
          </a:bodyPr>
          <a:lstStyle>
            <a:lvl1pPr marL="0" indent="0" algn="ctr">
              <a:buNone/>
              <a:defRPr sz="1200" spc="20" baseline="0"/>
            </a:lvl1pPr>
          </a:lstStyle>
          <a:p>
            <a:pPr lvl="0"/>
            <a:r>
              <a:rPr lang="en-US" dirty="0"/>
              <a:t>Title</a:t>
            </a:r>
          </a:p>
        </p:txBody>
      </p:sp>
      <p:sp>
        <p:nvSpPr>
          <p:cNvPr id="10" name="Picture Placeholder 16">
            <a:extLst>
              <a:ext uri="{FF2B5EF4-FFF2-40B4-BE49-F238E27FC236}">
                <a16:creationId xmlns:a16="http://schemas.microsoft.com/office/drawing/2014/main" id="{BB749B9A-080F-37C0-08E6-909A5DA554D4}"/>
              </a:ext>
            </a:extLst>
          </p:cNvPr>
          <p:cNvSpPr>
            <a:spLocks noGrp="1"/>
          </p:cNvSpPr>
          <p:nvPr>
            <p:ph type="pic" sz="quarter" idx="25"/>
          </p:nvPr>
        </p:nvSpPr>
        <p:spPr>
          <a:xfrm>
            <a:off x="1271016" y="4144264"/>
            <a:ext cx="2029968" cy="1828800"/>
          </a:xfrm>
          <a:solidFill>
            <a:schemeClr val="accent4">
              <a:lumMod val="60000"/>
              <a:lumOff val="40000"/>
            </a:schemeClr>
          </a:solidFill>
          <a:ln>
            <a:noFill/>
          </a:ln>
        </p:spPr>
        <p:txBody>
          <a:bodyPr anchor="ctr">
            <a:noAutofit/>
          </a:bodyPr>
          <a:lstStyle>
            <a:lvl1pPr marL="0" indent="0" algn="ctr">
              <a:buNone/>
              <a:defRPr sz="1400"/>
            </a:lvl1pPr>
          </a:lstStyle>
          <a:p>
            <a:endParaRPr lang="en-US" dirty="0"/>
          </a:p>
        </p:txBody>
      </p:sp>
      <p:sp>
        <p:nvSpPr>
          <p:cNvPr id="14" name="Text Placeholder 18">
            <a:extLst>
              <a:ext uri="{FF2B5EF4-FFF2-40B4-BE49-F238E27FC236}">
                <a16:creationId xmlns:a16="http://schemas.microsoft.com/office/drawing/2014/main" id="{C4C7516E-0853-87BE-108B-697DD8E0DA75}"/>
              </a:ext>
            </a:extLst>
          </p:cNvPr>
          <p:cNvSpPr>
            <a:spLocks noGrp="1"/>
          </p:cNvSpPr>
          <p:nvPr>
            <p:ph type="body" sz="quarter" idx="29" hasCustomPrompt="1"/>
          </p:nvPr>
        </p:nvSpPr>
        <p:spPr>
          <a:xfrm>
            <a:off x="1271016" y="5790184"/>
            <a:ext cx="2029968" cy="694944"/>
          </a:xfrm>
          <a:solidFill>
            <a:schemeClr val="accent1"/>
          </a:solidFill>
        </p:spPr>
        <p:txBody>
          <a:bodyPr lIns="0" tIns="155448" rIns="0" anchor="t">
            <a:noAutofit/>
          </a:bodyPr>
          <a:lstStyle>
            <a:lvl1pPr marL="0" indent="0" algn="ctr">
              <a:spcBef>
                <a:spcPts val="0"/>
              </a:spcBef>
              <a:buNone/>
              <a:defRPr sz="1400" b="1" cap="all" spc="20" baseline="0">
                <a:solidFill>
                  <a:schemeClr val="accent6"/>
                </a:solidFill>
                <a:latin typeface="Arial" panose="020B0604020202020204" pitchFamily="34" charset="0"/>
                <a:cs typeface="Arial" panose="020B0604020202020204" pitchFamily="34" charset="0"/>
              </a:defRPr>
            </a:lvl1pPr>
          </a:lstStyle>
          <a:p>
            <a:pPr lvl="0"/>
            <a:r>
              <a:rPr lang="en-US" dirty="0"/>
              <a:t>Name</a:t>
            </a:r>
          </a:p>
        </p:txBody>
      </p:sp>
      <p:sp>
        <p:nvSpPr>
          <p:cNvPr id="15" name="Text Placeholder 20">
            <a:extLst>
              <a:ext uri="{FF2B5EF4-FFF2-40B4-BE49-F238E27FC236}">
                <a16:creationId xmlns:a16="http://schemas.microsoft.com/office/drawing/2014/main" id="{FB1A74E1-7CEB-F501-F998-7361A20F7349}"/>
              </a:ext>
            </a:extLst>
          </p:cNvPr>
          <p:cNvSpPr>
            <a:spLocks noGrp="1"/>
          </p:cNvSpPr>
          <p:nvPr>
            <p:ph type="body" sz="quarter" idx="30" hasCustomPrompt="1"/>
          </p:nvPr>
        </p:nvSpPr>
        <p:spPr>
          <a:xfrm>
            <a:off x="1271016" y="6215888"/>
            <a:ext cx="2029968" cy="182880"/>
          </a:xfrm>
        </p:spPr>
        <p:txBody>
          <a:bodyPr anchor="ctr">
            <a:noAutofit/>
          </a:bodyPr>
          <a:lstStyle>
            <a:lvl1pPr marL="0" indent="0" algn="ctr">
              <a:buNone/>
              <a:defRPr sz="1200" spc="20" baseline="0"/>
            </a:lvl1pPr>
          </a:lstStyle>
          <a:p>
            <a:pPr lvl="0"/>
            <a:r>
              <a:rPr lang="en-US" dirty="0"/>
              <a:t>Title</a:t>
            </a:r>
          </a:p>
        </p:txBody>
      </p:sp>
      <p:sp>
        <p:nvSpPr>
          <p:cNvPr id="23" name="Picture Placeholder 16">
            <a:extLst>
              <a:ext uri="{FF2B5EF4-FFF2-40B4-BE49-F238E27FC236}">
                <a16:creationId xmlns:a16="http://schemas.microsoft.com/office/drawing/2014/main" id="{FBADCD1B-D9E0-EA12-0DD5-22E5C60E5D6B}"/>
              </a:ext>
            </a:extLst>
          </p:cNvPr>
          <p:cNvSpPr>
            <a:spLocks noGrp="1"/>
          </p:cNvSpPr>
          <p:nvPr>
            <p:ph type="pic" sz="quarter" idx="17"/>
          </p:nvPr>
        </p:nvSpPr>
        <p:spPr>
          <a:xfrm>
            <a:off x="3828288" y="1545336"/>
            <a:ext cx="2029968" cy="1828800"/>
          </a:xfrm>
          <a:solidFill>
            <a:schemeClr val="accent4">
              <a:lumMod val="60000"/>
              <a:lumOff val="40000"/>
            </a:schemeClr>
          </a:solidFill>
          <a:ln>
            <a:noFill/>
          </a:ln>
        </p:spPr>
        <p:txBody>
          <a:bodyPr anchor="ctr">
            <a:noAutofit/>
          </a:bodyPr>
          <a:lstStyle>
            <a:lvl1pPr marL="0" indent="0" algn="ctr">
              <a:buNone/>
              <a:defRPr sz="1400"/>
            </a:lvl1pPr>
          </a:lstStyle>
          <a:p>
            <a:endParaRPr lang="en-US" dirty="0"/>
          </a:p>
        </p:txBody>
      </p:sp>
      <p:sp>
        <p:nvSpPr>
          <p:cNvPr id="22" name="Text Placeholder 18">
            <a:extLst>
              <a:ext uri="{FF2B5EF4-FFF2-40B4-BE49-F238E27FC236}">
                <a16:creationId xmlns:a16="http://schemas.microsoft.com/office/drawing/2014/main" id="{AD33972D-9092-4B3C-A699-07849068AF1D}"/>
              </a:ext>
            </a:extLst>
          </p:cNvPr>
          <p:cNvSpPr>
            <a:spLocks noGrp="1"/>
          </p:cNvSpPr>
          <p:nvPr>
            <p:ph type="body" sz="quarter" idx="16" hasCustomPrompt="1"/>
          </p:nvPr>
        </p:nvSpPr>
        <p:spPr>
          <a:xfrm>
            <a:off x="3828288" y="3191256"/>
            <a:ext cx="2029968" cy="694944"/>
          </a:xfrm>
          <a:solidFill>
            <a:schemeClr val="accent1"/>
          </a:solidFill>
        </p:spPr>
        <p:txBody>
          <a:bodyPr lIns="0" tIns="155448" rIns="0" anchor="t">
            <a:noAutofit/>
          </a:bodyPr>
          <a:lstStyle>
            <a:lvl1pPr marL="0" indent="0" algn="ctr">
              <a:spcBef>
                <a:spcPts val="0"/>
              </a:spcBef>
              <a:buNone/>
              <a:defRPr sz="1400" b="1" cap="all" spc="20" baseline="0">
                <a:solidFill>
                  <a:schemeClr val="accent6"/>
                </a:solidFill>
                <a:latin typeface="Arial" panose="020B0604020202020204" pitchFamily="34" charset="0"/>
                <a:cs typeface="Arial" panose="020B0604020202020204" pitchFamily="34" charset="0"/>
              </a:defRPr>
            </a:lvl1pPr>
          </a:lstStyle>
          <a:p>
            <a:pPr lvl="0"/>
            <a:r>
              <a:rPr lang="en-US" dirty="0"/>
              <a:t>Name</a:t>
            </a:r>
          </a:p>
        </p:txBody>
      </p:sp>
      <p:sp>
        <p:nvSpPr>
          <p:cNvPr id="24" name="Text Placeholder 20">
            <a:extLst>
              <a:ext uri="{FF2B5EF4-FFF2-40B4-BE49-F238E27FC236}">
                <a16:creationId xmlns:a16="http://schemas.microsoft.com/office/drawing/2014/main" id="{B54F15B1-EAC3-0113-6737-C64480876C5F}"/>
              </a:ext>
            </a:extLst>
          </p:cNvPr>
          <p:cNvSpPr>
            <a:spLocks noGrp="1"/>
          </p:cNvSpPr>
          <p:nvPr>
            <p:ph type="body" sz="quarter" idx="18" hasCustomPrompt="1"/>
          </p:nvPr>
        </p:nvSpPr>
        <p:spPr>
          <a:xfrm>
            <a:off x="3828288" y="3616960"/>
            <a:ext cx="2029968" cy="182880"/>
          </a:xfrm>
        </p:spPr>
        <p:txBody>
          <a:bodyPr anchor="ctr">
            <a:noAutofit/>
          </a:bodyPr>
          <a:lstStyle>
            <a:lvl1pPr marL="0" indent="0" algn="ctr">
              <a:buNone/>
              <a:defRPr sz="1200" spc="20" baseline="0"/>
            </a:lvl1pPr>
          </a:lstStyle>
          <a:p>
            <a:pPr lvl="0"/>
            <a:r>
              <a:rPr lang="en-US" dirty="0"/>
              <a:t>Title</a:t>
            </a:r>
          </a:p>
        </p:txBody>
      </p:sp>
      <p:sp>
        <p:nvSpPr>
          <p:cNvPr id="11" name="Picture Placeholder 16">
            <a:extLst>
              <a:ext uri="{FF2B5EF4-FFF2-40B4-BE49-F238E27FC236}">
                <a16:creationId xmlns:a16="http://schemas.microsoft.com/office/drawing/2014/main" id="{B5D5100A-3D51-45DB-3A84-9E7FB85261E3}"/>
              </a:ext>
            </a:extLst>
          </p:cNvPr>
          <p:cNvSpPr>
            <a:spLocks noGrp="1"/>
          </p:cNvSpPr>
          <p:nvPr>
            <p:ph type="pic" sz="quarter" idx="26"/>
          </p:nvPr>
        </p:nvSpPr>
        <p:spPr>
          <a:xfrm>
            <a:off x="3828288" y="4144264"/>
            <a:ext cx="2029968" cy="1828800"/>
          </a:xfrm>
          <a:solidFill>
            <a:schemeClr val="accent4">
              <a:lumMod val="60000"/>
              <a:lumOff val="40000"/>
            </a:schemeClr>
          </a:solidFill>
          <a:ln>
            <a:noFill/>
          </a:ln>
        </p:spPr>
        <p:txBody>
          <a:bodyPr anchor="ctr">
            <a:noAutofit/>
          </a:bodyPr>
          <a:lstStyle>
            <a:lvl1pPr marL="0" indent="0" algn="ctr">
              <a:buNone/>
              <a:defRPr sz="1400"/>
            </a:lvl1pPr>
          </a:lstStyle>
          <a:p>
            <a:endParaRPr lang="en-US" dirty="0"/>
          </a:p>
        </p:txBody>
      </p:sp>
      <p:sp>
        <p:nvSpPr>
          <p:cNvPr id="16" name="Text Placeholder 18">
            <a:extLst>
              <a:ext uri="{FF2B5EF4-FFF2-40B4-BE49-F238E27FC236}">
                <a16:creationId xmlns:a16="http://schemas.microsoft.com/office/drawing/2014/main" id="{B775B771-678A-D917-7FE0-5DA7A23CCE25}"/>
              </a:ext>
            </a:extLst>
          </p:cNvPr>
          <p:cNvSpPr>
            <a:spLocks noGrp="1"/>
          </p:cNvSpPr>
          <p:nvPr>
            <p:ph type="body" sz="quarter" idx="31" hasCustomPrompt="1"/>
          </p:nvPr>
        </p:nvSpPr>
        <p:spPr>
          <a:xfrm>
            <a:off x="3828288" y="5790184"/>
            <a:ext cx="2029968" cy="694944"/>
          </a:xfrm>
          <a:solidFill>
            <a:schemeClr val="accent4"/>
          </a:solidFill>
        </p:spPr>
        <p:txBody>
          <a:bodyPr lIns="0" tIns="155448" rIns="0" anchor="t">
            <a:noAutofit/>
          </a:bodyPr>
          <a:lstStyle>
            <a:lvl1pPr marL="0" indent="0" algn="ctr">
              <a:spcBef>
                <a:spcPts val="0"/>
              </a:spcBef>
              <a:buNone/>
              <a:defRPr sz="1400" b="1" cap="all" spc="20" baseline="0">
                <a:solidFill>
                  <a:schemeClr val="accent6"/>
                </a:solidFill>
                <a:latin typeface="Arial" panose="020B0604020202020204" pitchFamily="34" charset="0"/>
                <a:cs typeface="Arial" panose="020B0604020202020204" pitchFamily="34" charset="0"/>
              </a:defRPr>
            </a:lvl1pPr>
          </a:lstStyle>
          <a:p>
            <a:pPr lvl="0"/>
            <a:r>
              <a:rPr lang="en-US" dirty="0"/>
              <a:t>Name</a:t>
            </a:r>
          </a:p>
        </p:txBody>
      </p:sp>
      <p:sp>
        <p:nvSpPr>
          <p:cNvPr id="18" name="Text Placeholder 20">
            <a:extLst>
              <a:ext uri="{FF2B5EF4-FFF2-40B4-BE49-F238E27FC236}">
                <a16:creationId xmlns:a16="http://schemas.microsoft.com/office/drawing/2014/main" id="{AA2B9540-B92A-AD9C-C01A-B08A98BF8455}"/>
              </a:ext>
            </a:extLst>
          </p:cNvPr>
          <p:cNvSpPr>
            <a:spLocks noGrp="1"/>
          </p:cNvSpPr>
          <p:nvPr>
            <p:ph type="body" sz="quarter" idx="32" hasCustomPrompt="1"/>
          </p:nvPr>
        </p:nvSpPr>
        <p:spPr>
          <a:xfrm>
            <a:off x="3828288" y="6215888"/>
            <a:ext cx="2029968" cy="182880"/>
          </a:xfrm>
        </p:spPr>
        <p:txBody>
          <a:bodyPr anchor="ctr">
            <a:noAutofit/>
          </a:bodyPr>
          <a:lstStyle>
            <a:lvl1pPr marL="0" indent="0" algn="ctr">
              <a:buNone/>
              <a:defRPr sz="1200" spc="20" baseline="0"/>
            </a:lvl1pPr>
          </a:lstStyle>
          <a:p>
            <a:pPr lvl="0"/>
            <a:r>
              <a:rPr lang="en-US" dirty="0"/>
              <a:t>Title</a:t>
            </a:r>
          </a:p>
        </p:txBody>
      </p:sp>
      <p:sp>
        <p:nvSpPr>
          <p:cNvPr id="26" name="Picture Placeholder 16">
            <a:extLst>
              <a:ext uri="{FF2B5EF4-FFF2-40B4-BE49-F238E27FC236}">
                <a16:creationId xmlns:a16="http://schemas.microsoft.com/office/drawing/2014/main" id="{FCEED0A5-9A71-D54A-91FC-264BD71DDED3}"/>
              </a:ext>
            </a:extLst>
          </p:cNvPr>
          <p:cNvSpPr>
            <a:spLocks noGrp="1"/>
          </p:cNvSpPr>
          <p:nvPr>
            <p:ph type="pic" sz="quarter" idx="20"/>
          </p:nvPr>
        </p:nvSpPr>
        <p:spPr>
          <a:xfrm>
            <a:off x="6385560" y="1545336"/>
            <a:ext cx="2029968" cy="1828800"/>
          </a:xfrm>
          <a:solidFill>
            <a:schemeClr val="accent4">
              <a:lumMod val="60000"/>
              <a:lumOff val="40000"/>
            </a:schemeClr>
          </a:solidFill>
          <a:ln>
            <a:noFill/>
          </a:ln>
        </p:spPr>
        <p:txBody>
          <a:bodyPr anchor="ctr">
            <a:noAutofit/>
          </a:bodyPr>
          <a:lstStyle>
            <a:lvl1pPr marL="0" indent="0" algn="ctr">
              <a:buNone/>
              <a:defRPr sz="1400"/>
            </a:lvl1pPr>
          </a:lstStyle>
          <a:p>
            <a:endParaRPr lang="en-US" dirty="0"/>
          </a:p>
        </p:txBody>
      </p:sp>
      <p:sp>
        <p:nvSpPr>
          <p:cNvPr id="25" name="Text Placeholder 18">
            <a:extLst>
              <a:ext uri="{FF2B5EF4-FFF2-40B4-BE49-F238E27FC236}">
                <a16:creationId xmlns:a16="http://schemas.microsoft.com/office/drawing/2014/main" id="{F44A0C74-A714-A8C2-69D2-74CAD68037A5}"/>
              </a:ext>
            </a:extLst>
          </p:cNvPr>
          <p:cNvSpPr>
            <a:spLocks noGrp="1"/>
          </p:cNvSpPr>
          <p:nvPr>
            <p:ph type="body" sz="quarter" idx="19" hasCustomPrompt="1"/>
          </p:nvPr>
        </p:nvSpPr>
        <p:spPr>
          <a:xfrm>
            <a:off x="6385560" y="3191256"/>
            <a:ext cx="2029968" cy="694944"/>
          </a:xfrm>
          <a:solidFill>
            <a:schemeClr val="accent4"/>
          </a:solidFill>
        </p:spPr>
        <p:txBody>
          <a:bodyPr lIns="0" tIns="155448" rIns="0" anchor="t">
            <a:noAutofit/>
          </a:bodyPr>
          <a:lstStyle>
            <a:lvl1pPr marL="0" indent="0" algn="ctr">
              <a:spcBef>
                <a:spcPts val="0"/>
              </a:spcBef>
              <a:buNone/>
              <a:defRPr sz="1400" b="1" cap="all" spc="20" baseline="0">
                <a:solidFill>
                  <a:schemeClr val="accent6"/>
                </a:solidFill>
                <a:latin typeface="Arial" panose="020B0604020202020204" pitchFamily="34" charset="0"/>
                <a:cs typeface="Arial" panose="020B0604020202020204" pitchFamily="34" charset="0"/>
              </a:defRPr>
            </a:lvl1pPr>
          </a:lstStyle>
          <a:p>
            <a:pPr lvl="0"/>
            <a:r>
              <a:rPr lang="en-US" dirty="0"/>
              <a:t>Name</a:t>
            </a:r>
          </a:p>
        </p:txBody>
      </p:sp>
      <p:sp>
        <p:nvSpPr>
          <p:cNvPr id="27" name="Text Placeholder 20">
            <a:extLst>
              <a:ext uri="{FF2B5EF4-FFF2-40B4-BE49-F238E27FC236}">
                <a16:creationId xmlns:a16="http://schemas.microsoft.com/office/drawing/2014/main" id="{552F4682-3F02-2A70-A285-FB2D1822A4D6}"/>
              </a:ext>
            </a:extLst>
          </p:cNvPr>
          <p:cNvSpPr>
            <a:spLocks noGrp="1"/>
          </p:cNvSpPr>
          <p:nvPr>
            <p:ph type="body" sz="quarter" idx="21" hasCustomPrompt="1"/>
          </p:nvPr>
        </p:nvSpPr>
        <p:spPr>
          <a:xfrm>
            <a:off x="6385560" y="3616960"/>
            <a:ext cx="2029968" cy="182880"/>
          </a:xfrm>
        </p:spPr>
        <p:txBody>
          <a:bodyPr anchor="ctr">
            <a:noAutofit/>
          </a:bodyPr>
          <a:lstStyle>
            <a:lvl1pPr marL="0" indent="0" algn="ctr">
              <a:buNone/>
              <a:defRPr sz="1200" spc="20" baseline="0"/>
            </a:lvl1pPr>
          </a:lstStyle>
          <a:p>
            <a:pPr lvl="0"/>
            <a:r>
              <a:rPr lang="en-US" dirty="0"/>
              <a:t>Title</a:t>
            </a:r>
          </a:p>
        </p:txBody>
      </p:sp>
      <p:sp>
        <p:nvSpPr>
          <p:cNvPr id="12" name="Picture Placeholder 16">
            <a:extLst>
              <a:ext uri="{FF2B5EF4-FFF2-40B4-BE49-F238E27FC236}">
                <a16:creationId xmlns:a16="http://schemas.microsoft.com/office/drawing/2014/main" id="{3D2AAC25-9404-1F6F-200C-5660F4995858}"/>
              </a:ext>
            </a:extLst>
          </p:cNvPr>
          <p:cNvSpPr>
            <a:spLocks noGrp="1"/>
          </p:cNvSpPr>
          <p:nvPr>
            <p:ph type="pic" sz="quarter" idx="27"/>
          </p:nvPr>
        </p:nvSpPr>
        <p:spPr>
          <a:xfrm>
            <a:off x="6385560" y="4144264"/>
            <a:ext cx="2029968" cy="1828800"/>
          </a:xfrm>
          <a:solidFill>
            <a:schemeClr val="accent4">
              <a:lumMod val="60000"/>
              <a:lumOff val="40000"/>
            </a:schemeClr>
          </a:solidFill>
          <a:ln>
            <a:noFill/>
          </a:ln>
        </p:spPr>
        <p:txBody>
          <a:bodyPr anchor="ctr">
            <a:noAutofit/>
          </a:bodyPr>
          <a:lstStyle>
            <a:lvl1pPr marL="0" indent="0" algn="ctr">
              <a:buNone/>
              <a:defRPr sz="1400"/>
            </a:lvl1pPr>
          </a:lstStyle>
          <a:p>
            <a:endParaRPr lang="en-US" dirty="0"/>
          </a:p>
        </p:txBody>
      </p:sp>
      <p:sp>
        <p:nvSpPr>
          <p:cNvPr id="20" name="Text Placeholder 18">
            <a:extLst>
              <a:ext uri="{FF2B5EF4-FFF2-40B4-BE49-F238E27FC236}">
                <a16:creationId xmlns:a16="http://schemas.microsoft.com/office/drawing/2014/main" id="{AE4677E1-AC1B-AB9C-5E0C-794903DD1CEB}"/>
              </a:ext>
            </a:extLst>
          </p:cNvPr>
          <p:cNvSpPr>
            <a:spLocks noGrp="1"/>
          </p:cNvSpPr>
          <p:nvPr>
            <p:ph type="body" sz="quarter" idx="33" hasCustomPrompt="1"/>
          </p:nvPr>
        </p:nvSpPr>
        <p:spPr>
          <a:xfrm>
            <a:off x="6385560" y="5790184"/>
            <a:ext cx="2029968" cy="694944"/>
          </a:xfrm>
          <a:solidFill>
            <a:schemeClr val="accent1"/>
          </a:solidFill>
        </p:spPr>
        <p:txBody>
          <a:bodyPr lIns="0" tIns="155448" rIns="0" anchor="t">
            <a:noAutofit/>
          </a:bodyPr>
          <a:lstStyle>
            <a:lvl1pPr marL="0" indent="0" algn="ctr">
              <a:spcBef>
                <a:spcPts val="0"/>
              </a:spcBef>
              <a:buNone/>
              <a:defRPr sz="1400" b="1" cap="all" spc="20" baseline="0">
                <a:solidFill>
                  <a:schemeClr val="accent6"/>
                </a:solidFill>
                <a:latin typeface="Arial" panose="020B0604020202020204" pitchFamily="34" charset="0"/>
                <a:cs typeface="Arial" panose="020B0604020202020204" pitchFamily="34" charset="0"/>
              </a:defRPr>
            </a:lvl1pPr>
          </a:lstStyle>
          <a:p>
            <a:pPr lvl="0"/>
            <a:r>
              <a:rPr lang="en-US" dirty="0"/>
              <a:t>Name</a:t>
            </a:r>
          </a:p>
        </p:txBody>
      </p:sp>
      <p:sp>
        <p:nvSpPr>
          <p:cNvPr id="31" name="Text Placeholder 20">
            <a:extLst>
              <a:ext uri="{FF2B5EF4-FFF2-40B4-BE49-F238E27FC236}">
                <a16:creationId xmlns:a16="http://schemas.microsoft.com/office/drawing/2014/main" id="{826BBF6C-7198-3C15-CDCB-E72B08709C1F}"/>
              </a:ext>
            </a:extLst>
          </p:cNvPr>
          <p:cNvSpPr>
            <a:spLocks noGrp="1"/>
          </p:cNvSpPr>
          <p:nvPr>
            <p:ph type="body" sz="quarter" idx="34" hasCustomPrompt="1"/>
          </p:nvPr>
        </p:nvSpPr>
        <p:spPr>
          <a:xfrm>
            <a:off x="6385560" y="6215888"/>
            <a:ext cx="2029968" cy="182880"/>
          </a:xfrm>
        </p:spPr>
        <p:txBody>
          <a:bodyPr anchor="ctr">
            <a:noAutofit/>
          </a:bodyPr>
          <a:lstStyle>
            <a:lvl1pPr marL="0" indent="0" algn="ctr">
              <a:buNone/>
              <a:defRPr sz="1200" spc="20" baseline="0"/>
            </a:lvl1pPr>
          </a:lstStyle>
          <a:p>
            <a:pPr lvl="0"/>
            <a:r>
              <a:rPr lang="en-US" dirty="0"/>
              <a:t>Title</a:t>
            </a:r>
          </a:p>
        </p:txBody>
      </p:sp>
      <p:sp>
        <p:nvSpPr>
          <p:cNvPr id="29" name="Picture Placeholder 16">
            <a:extLst>
              <a:ext uri="{FF2B5EF4-FFF2-40B4-BE49-F238E27FC236}">
                <a16:creationId xmlns:a16="http://schemas.microsoft.com/office/drawing/2014/main" id="{4F0F5D16-7316-B120-F378-E3D492FEEB9C}"/>
              </a:ext>
            </a:extLst>
          </p:cNvPr>
          <p:cNvSpPr>
            <a:spLocks noGrp="1"/>
          </p:cNvSpPr>
          <p:nvPr>
            <p:ph type="pic" sz="quarter" idx="23"/>
          </p:nvPr>
        </p:nvSpPr>
        <p:spPr>
          <a:xfrm>
            <a:off x="8942832" y="1545336"/>
            <a:ext cx="2029968" cy="1828800"/>
          </a:xfrm>
          <a:solidFill>
            <a:schemeClr val="accent4">
              <a:lumMod val="60000"/>
              <a:lumOff val="40000"/>
            </a:schemeClr>
          </a:solidFill>
          <a:ln>
            <a:noFill/>
          </a:ln>
        </p:spPr>
        <p:txBody>
          <a:bodyPr anchor="ctr">
            <a:noAutofit/>
          </a:bodyPr>
          <a:lstStyle>
            <a:lvl1pPr marL="0" indent="0" algn="ctr">
              <a:buNone/>
              <a:defRPr sz="1400"/>
            </a:lvl1pPr>
          </a:lstStyle>
          <a:p>
            <a:endParaRPr lang="en-US" dirty="0"/>
          </a:p>
        </p:txBody>
      </p:sp>
      <p:sp>
        <p:nvSpPr>
          <p:cNvPr id="28" name="Text Placeholder 18">
            <a:extLst>
              <a:ext uri="{FF2B5EF4-FFF2-40B4-BE49-F238E27FC236}">
                <a16:creationId xmlns:a16="http://schemas.microsoft.com/office/drawing/2014/main" id="{47AC9724-9FC2-62FA-0DE7-3F9FE9B67A34}"/>
              </a:ext>
            </a:extLst>
          </p:cNvPr>
          <p:cNvSpPr>
            <a:spLocks noGrp="1"/>
          </p:cNvSpPr>
          <p:nvPr>
            <p:ph type="body" sz="quarter" idx="22" hasCustomPrompt="1"/>
          </p:nvPr>
        </p:nvSpPr>
        <p:spPr>
          <a:xfrm>
            <a:off x="8942832" y="3191256"/>
            <a:ext cx="2029968" cy="694944"/>
          </a:xfrm>
          <a:solidFill>
            <a:schemeClr val="accent1"/>
          </a:solidFill>
        </p:spPr>
        <p:txBody>
          <a:bodyPr lIns="0" tIns="155448" rIns="0" anchor="t">
            <a:noAutofit/>
          </a:bodyPr>
          <a:lstStyle>
            <a:lvl1pPr marL="0" indent="0" algn="ctr">
              <a:spcBef>
                <a:spcPts val="0"/>
              </a:spcBef>
              <a:buNone/>
              <a:defRPr sz="1400" b="1" cap="all" spc="20" baseline="0">
                <a:solidFill>
                  <a:schemeClr val="accent6"/>
                </a:solidFill>
                <a:latin typeface="Arial" panose="020B0604020202020204" pitchFamily="34" charset="0"/>
                <a:cs typeface="Arial" panose="020B0604020202020204" pitchFamily="34" charset="0"/>
              </a:defRPr>
            </a:lvl1pPr>
          </a:lstStyle>
          <a:p>
            <a:pPr lvl="0"/>
            <a:r>
              <a:rPr lang="en-US" dirty="0"/>
              <a:t>Name</a:t>
            </a:r>
          </a:p>
        </p:txBody>
      </p:sp>
      <p:sp>
        <p:nvSpPr>
          <p:cNvPr id="30" name="Text Placeholder 20">
            <a:extLst>
              <a:ext uri="{FF2B5EF4-FFF2-40B4-BE49-F238E27FC236}">
                <a16:creationId xmlns:a16="http://schemas.microsoft.com/office/drawing/2014/main" id="{114EE337-FC29-F325-E528-A3F809B28B5B}"/>
              </a:ext>
            </a:extLst>
          </p:cNvPr>
          <p:cNvSpPr>
            <a:spLocks noGrp="1"/>
          </p:cNvSpPr>
          <p:nvPr>
            <p:ph type="body" sz="quarter" idx="24" hasCustomPrompt="1"/>
          </p:nvPr>
        </p:nvSpPr>
        <p:spPr>
          <a:xfrm>
            <a:off x="8942832" y="3616960"/>
            <a:ext cx="2029968" cy="182880"/>
          </a:xfrm>
        </p:spPr>
        <p:txBody>
          <a:bodyPr anchor="ctr">
            <a:noAutofit/>
          </a:bodyPr>
          <a:lstStyle>
            <a:lvl1pPr marL="0" indent="0" algn="ctr">
              <a:buNone/>
              <a:defRPr sz="1200" spc="20" baseline="0"/>
            </a:lvl1pPr>
          </a:lstStyle>
          <a:p>
            <a:pPr lvl="0"/>
            <a:r>
              <a:rPr lang="en-US" dirty="0"/>
              <a:t>Title</a:t>
            </a:r>
          </a:p>
        </p:txBody>
      </p:sp>
      <p:sp>
        <p:nvSpPr>
          <p:cNvPr id="13" name="Picture Placeholder 16">
            <a:extLst>
              <a:ext uri="{FF2B5EF4-FFF2-40B4-BE49-F238E27FC236}">
                <a16:creationId xmlns:a16="http://schemas.microsoft.com/office/drawing/2014/main" id="{90CBAA5D-3D9B-0CB5-E527-996433638BE3}"/>
              </a:ext>
            </a:extLst>
          </p:cNvPr>
          <p:cNvSpPr>
            <a:spLocks noGrp="1"/>
          </p:cNvSpPr>
          <p:nvPr>
            <p:ph type="pic" sz="quarter" idx="28"/>
          </p:nvPr>
        </p:nvSpPr>
        <p:spPr>
          <a:xfrm>
            <a:off x="8942832" y="4144264"/>
            <a:ext cx="2029968" cy="1828800"/>
          </a:xfrm>
          <a:solidFill>
            <a:schemeClr val="accent4">
              <a:lumMod val="60000"/>
              <a:lumOff val="40000"/>
            </a:schemeClr>
          </a:solidFill>
          <a:ln>
            <a:noFill/>
          </a:ln>
        </p:spPr>
        <p:txBody>
          <a:bodyPr anchor="ctr">
            <a:noAutofit/>
          </a:bodyPr>
          <a:lstStyle>
            <a:lvl1pPr marL="0" indent="0" algn="ctr">
              <a:buNone/>
              <a:defRPr sz="1400"/>
            </a:lvl1pPr>
          </a:lstStyle>
          <a:p>
            <a:endParaRPr lang="en-US" dirty="0"/>
          </a:p>
        </p:txBody>
      </p:sp>
      <p:sp>
        <p:nvSpPr>
          <p:cNvPr id="32" name="Text Placeholder 18">
            <a:extLst>
              <a:ext uri="{FF2B5EF4-FFF2-40B4-BE49-F238E27FC236}">
                <a16:creationId xmlns:a16="http://schemas.microsoft.com/office/drawing/2014/main" id="{5B47333C-2F5E-FA7D-5DD1-191E0F421B61}"/>
              </a:ext>
            </a:extLst>
          </p:cNvPr>
          <p:cNvSpPr>
            <a:spLocks noGrp="1"/>
          </p:cNvSpPr>
          <p:nvPr>
            <p:ph type="body" sz="quarter" idx="35" hasCustomPrompt="1"/>
          </p:nvPr>
        </p:nvSpPr>
        <p:spPr>
          <a:xfrm>
            <a:off x="8942832" y="5790184"/>
            <a:ext cx="2029968" cy="694944"/>
          </a:xfrm>
          <a:solidFill>
            <a:schemeClr val="accent4"/>
          </a:solidFill>
        </p:spPr>
        <p:txBody>
          <a:bodyPr lIns="0" tIns="155448" rIns="0" anchor="t">
            <a:noAutofit/>
          </a:bodyPr>
          <a:lstStyle>
            <a:lvl1pPr marL="0" indent="0" algn="ctr">
              <a:spcBef>
                <a:spcPts val="0"/>
              </a:spcBef>
              <a:buNone/>
              <a:defRPr sz="1400" b="1" cap="all" spc="20" baseline="0">
                <a:solidFill>
                  <a:schemeClr val="accent6"/>
                </a:solidFill>
                <a:latin typeface="Arial" panose="020B0604020202020204" pitchFamily="34" charset="0"/>
                <a:cs typeface="Arial" panose="020B0604020202020204" pitchFamily="34" charset="0"/>
              </a:defRPr>
            </a:lvl1pPr>
          </a:lstStyle>
          <a:p>
            <a:pPr lvl="0"/>
            <a:r>
              <a:rPr lang="en-US" dirty="0"/>
              <a:t>Name</a:t>
            </a:r>
          </a:p>
        </p:txBody>
      </p:sp>
      <p:sp>
        <p:nvSpPr>
          <p:cNvPr id="33" name="Text Placeholder 20">
            <a:extLst>
              <a:ext uri="{FF2B5EF4-FFF2-40B4-BE49-F238E27FC236}">
                <a16:creationId xmlns:a16="http://schemas.microsoft.com/office/drawing/2014/main" id="{D0AA2AE2-5A11-76D4-4D9C-B6B24D1419D0}"/>
              </a:ext>
            </a:extLst>
          </p:cNvPr>
          <p:cNvSpPr>
            <a:spLocks noGrp="1"/>
          </p:cNvSpPr>
          <p:nvPr>
            <p:ph type="body" sz="quarter" idx="36" hasCustomPrompt="1"/>
          </p:nvPr>
        </p:nvSpPr>
        <p:spPr>
          <a:xfrm>
            <a:off x="8942832" y="6215888"/>
            <a:ext cx="2029968" cy="182880"/>
          </a:xfrm>
        </p:spPr>
        <p:txBody>
          <a:bodyPr anchor="ctr">
            <a:noAutofit/>
          </a:bodyPr>
          <a:lstStyle>
            <a:lvl1pPr marL="0" indent="0" algn="ctr">
              <a:buNone/>
              <a:defRPr sz="1200" spc="20" baseline="0"/>
            </a:lvl1pPr>
          </a:lstStyle>
          <a:p>
            <a:pPr lvl="0"/>
            <a:r>
              <a:rPr lang="en-US" dirty="0"/>
              <a:t>Title</a:t>
            </a:r>
          </a:p>
        </p:txBody>
      </p:sp>
    </p:spTree>
    <p:extLst>
      <p:ext uri="{BB962C8B-B14F-4D97-AF65-F5344CB8AC3E}">
        <p14:creationId xmlns:p14="http://schemas.microsoft.com/office/powerpoint/2010/main" val="1088201515"/>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5 Column">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950ED98-B5D1-206C-403F-FA954F9D2CFF}"/>
              </a:ext>
            </a:extLst>
          </p:cNvPr>
          <p:cNvSpPr/>
          <p:nvPr userDrawn="1"/>
        </p:nvSpPr>
        <p:spPr>
          <a:xfrm>
            <a:off x="685338" y="3796480"/>
            <a:ext cx="2011680" cy="151790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E8643CE-01D9-3E5E-15F6-20689F775F15}"/>
              </a:ext>
            </a:extLst>
          </p:cNvPr>
          <p:cNvSpPr/>
          <p:nvPr userDrawn="1"/>
        </p:nvSpPr>
        <p:spPr>
          <a:xfrm>
            <a:off x="2900911" y="3796480"/>
            <a:ext cx="2011680" cy="1517904"/>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5AF82DDD-EDEC-7D87-F43A-113C5E4A4FE7}"/>
              </a:ext>
            </a:extLst>
          </p:cNvPr>
          <p:cNvSpPr/>
          <p:nvPr userDrawn="1"/>
        </p:nvSpPr>
        <p:spPr>
          <a:xfrm>
            <a:off x="5116484" y="3796480"/>
            <a:ext cx="2011680" cy="151790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E47E492E-967F-54B7-55B1-08A5E1C3615B}"/>
              </a:ext>
            </a:extLst>
          </p:cNvPr>
          <p:cNvSpPr/>
          <p:nvPr userDrawn="1"/>
        </p:nvSpPr>
        <p:spPr>
          <a:xfrm>
            <a:off x="9547629" y="3796480"/>
            <a:ext cx="2011680" cy="151790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DC0053FE-E44A-CA97-F782-67FC633E722E}"/>
              </a:ext>
            </a:extLst>
          </p:cNvPr>
          <p:cNvSpPr/>
          <p:nvPr userDrawn="1"/>
        </p:nvSpPr>
        <p:spPr>
          <a:xfrm>
            <a:off x="7332057" y="3796480"/>
            <a:ext cx="2011680" cy="1517904"/>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445A0A-815D-3414-088B-C041E6742DBE}"/>
              </a:ext>
            </a:extLst>
          </p:cNvPr>
          <p:cNvSpPr>
            <a:spLocks noGrp="1"/>
          </p:cNvSpPr>
          <p:nvPr>
            <p:ph type="title"/>
          </p:nvPr>
        </p:nvSpPr>
        <p:spPr>
          <a:xfrm>
            <a:off x="758952" y="841248"/>
            <a:ext cx="10671048" cy="768096"/>
          </a:xfrm>
        </p:spPr>
        <p:txBody>
          <a:bodyPr>
            <a:noAutofit/>
          </a:bodyPr>
          <a:lstStyle>
            <a:lvl1pPr>
              <a:lnSpc>
                <a:spcPct val="100000"/>
              </a:lnSpc>
              <a:defRPr/>
            </a:lvl1pPr>
          </a:lstStyle>
          <a:p>
            <a:r>
              <a:rPr lang="en-US" dirty="0"/>
              <a:t>Click to edit Master title style</a:t>
            </a:r>
          </a:p>
        </p:txBody>
      </p:sp>
      <p:sp>
        <p:nvSpPr>
          <p:cNvPr id="4" name="Footer Placeholder 3">
            <a:extLst>
              <a:ext uri="{FF2B5EF4-FFF2-40B4-BE49-F238E27FC236}">
                <a16:creationId xmlns:a16="http://schemas.microsoft.com/office/drawing/2014/main" id="{317B5E29-6335-83BC-FA01-FAE422D2658B}"/>
              </a:ext>
            </a:extLst>
          </p:cNvPr>
          <p:cNvSpPr>
            <a:spLocks noGrp="1"/>
          </p:cNvSpPr>
          <p:nvPr>
            <p:ph type="ftr" sz="quarter" idx="11"/>
          </p:nvPr>
        </p:nvSpPr>
        <p:spPr/>
        <p:txBody>
          <a:bodyPr>
            <a:noAutofit/>
          </a:bodyPr>
          <a:lstStyle/>
          <a:p>
            <a:r>
              <a:rPr lang="en-US"/>
              <a:t>Presentation title</a:t>
            </a:r>
            <a:endParaRPr lang="en-US" dirty="0"/>
          </a:p>
        </p:txBody>
      </p:sp>
      <p:sp>
        <p:nvSpPr>
          <p:cNvPr id="5" name="Slide Number Placeholder 4">
            <a:extLst>
              <a:ext uri="{FF2B5EF4-FFF2-40B4-BE49-F238E27FC236}">
                <a16:creationId xmlns:a16="http://schemas.microsoft.com/office/drawing/2014/main" id="{536476D1-B61A-E9FD-E266-768B405CC30B}"/>
              </a:ext>
            </a:extLst>
          </p:cNvPr>
          <p:cNvSpPr>
            <a:spLocks noGrp="1"/>
          </p:cNvSpPr>
          <p:nvPr>
            <p:ph type="sldNum" sz="quarter" idx="12"/>
          </p:nvPr>
        </p:nvSpPr>
        <p:spPr/>
        <p:txBody>
          <a:bodyPr>
            <a:noAutofit/>
          </a:bodyPr>
          <a:lstStyle/>
          <a:p>
            <a:fld id="{48F63A3B-78C7-47BE-AE5E-E10140E04643}" type="slidenum">
              <a:rPr lang="en-US" smtClean="0"/>
              <a:pPr/>
              <a:t>‹#›</a:t>
            </a:fld>
            <a:endParaRPr lang="en-US" dirty="0"/>
          </a:p>
        </p:txBody>
      </p:sp>
      <p:sp>
        <p:nvSpPr>
          <p:cNvPr id="46" name="Text Placeholder 2">
            <a:extLst>
              <a:ext uri="{FF2B5EF4-FFF2-40B4-BE49-F238E27FC236}">
                <a16:creationId xmlns:a16="http://schemas.microsoft.com/office/drawing/2014/main" id="{C025625F-8274-840F-6DD8-D36687CB8F7E}"/>
              </a:ext>
            </a:extLst>
          </p:cNvPr>
          <p:cNvSpPr>
            <a:spLocks noGrp="1"/>
          </p:cNvSpPr>
          <p:nvPr>
            <p:ph type="body" idx="1"/>
          </p:nvPr>
        </p:nvSpPr>
        <p:spPr>
          <a:xfrm>
            <a:off x="685338" y="2491684"/>
            <a:ext cx="2011680" cy="2825173"/>
          </a:xfrm>
          <a:noFill/>
          <a:ln w="12700">
            <a:solidFill>
              <a:schemeClr val="accent1"/>
            </a:solidFill>
          </a:ln>
        </p:spPr>
        <p:txBody>
          <a:bodyPr tIns="685800" anchor="t">
            <a:noAutofit/>
          </a:bodyPr>
          <a:lstStyle>
            <a:lvl1pPr marL="0" indent="0" algn="ctr">
              <a:lnSpc>
                <a:spcPct val="100000"/>
              </a:lnSpc>
              <a:spcBef>
                <a:spcPts val="0"/>
              </a:spcBef>
              <a:buNone/>
              <a:defRPr sz="1800" b="1" cap="all" spc="0" baseline="0">
                <a:solidFill>
                  <a:schemeClr val="accent6"/>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4" name="Picture Placeholder 62">
            <a:extLst>
              <a:ext uri="{FF2B5EF4-FFF2-40B4-BE49-F238E27FC236}">
                <a16:creationId xmlns:a16="http://schemas.microsoft.com/office/drawing/2014/main" id="{2F18FBB7-2D21-7954-1324-C7D3BFE5C85D}"/>
              </a:ext>
            </a:extLst>
          </p:cNvPr>
          <p:cNvSpPr>
            <a:spLocks noGrp="1"/>
          </p:cNvSpPr>
          <p:nvPr>
            <p:ph type="pic" sz="quarter" idx="23"/>
          </p:nvPr>
        </p:nvSpPr>
        <p:spPr>
          <a:xfrm>
            <a:off x="1339134" y="2111058"/>
            <a:ext cx="704088" cy="704088"/>
          </a:xfrm>
          <a:prstGeom prst="ellipse">
            <a:avLst/>
          </a:prstGeom>
          <a:solidFill>
            <a:schemeClr val="accent1"/>
          </a:solidFill>
        </p:spPr>
        <p:txBody>
          <a:bodyPr lIns="0" tIns="0" rIns="0" bIns="0" anchor="ctr">
            <a:noAutofit/>
          </a:bodyPr>
          <a:lstStyle>
            <a:lvl1pPr marL="0" indent="0" algn="ctr">
              <a:buNone/>
              <a:defRPr sz="900"/>
            </a:lvl1pPr>
          </a:lstStyle>
          <a:p>
            <a:endParaRPr lang="en-US" dirty="0"/>
          </a:p>
        </p:txBody>
      </p:sp>
      <p:sp>
        <p:nvSpPr>
          <p:cNvPr id="52" name="Text Placeholder 51">
            <a:extLst>
              <a:ext uri="{FF2B5EF4-FFF2-40B4-BE49-F238E27FC236}">
                <a16:creationId xmlns:a16="http://schemas.microsoft.com/office/drawing/2014/main" id="{2EF54C35-5F8E-4E0A-AB4D-97E38121910A}"/>
              </a:ext>
            </a:extLst>
          </p:cNvPr>
          <p:cNvSpPr>
            <a:spLocks noGrp="1"/>
          </p:cNvSpPr>
          <p:nvPr>
            <p:ph type="body" sz="quarter" idx="18"/>
          </p:nvPr>
        </p:nvSpPr>
        <p:spPr>
          <a:xfrm>
            <a:off x="731058" y="3888404"/>
            <a:ext cx="1920240" cy="1371600"/>
          </a:xfrm>
          <a:noFill/>
          <a:ln>
            <a:noFill/>
          </a:ln>
        </p:spPr>
        <p:txBody>
          <a:bodyPr lIns="91440" rIns="91440" anchor="ctr">
            <a:noAutofit/>
          </a:bodyPr>
          <a:lstStyle>
            <a:lvl1pPr marL="0" indent="0" algn="ctr">
              <a:spcBef>
                <a:spcPts val="0"/>
              </a:spcBef>
              <a:buNone/>
              <a:defRPr sz="1500"/>
            </a:lvl1pPr>
          </a:lstStyle>
          <a:p>
            <a:pPr lvl="0"/>
            <a:r>
              <a:rPr lang="en-US" dirty="0"/>
              <a:t>Click to edit Master text styles</a:t>
            </a:r>
          </a:p>
        </p:txBody>
      </p:sp>
      <p:sp>
        <p:nvSpPr>
          <p:cNvPr id="47" name="Text Placeholder 4">
            <a:extLst>
              <a:ext uri="{FF2B5EF4-FFF2-40B4-BE49-F238E27FC236}">
                <a16:creationId xmlns:a16="http://schemas.microsoft.com/office/drawing/2014/main" id="{79F9AD31-B0C5-3563-C73A-8B6297FCFD1C}"/>
              </a:ext>
            </a:extLst>
          </p:cNvPr>
          <p:cNvSpPr>
            <a:spLocks noGrp="1"/>
          </p:cNvSpPr>
          <p:nvPr>
            <p:ph type="body" sz="quarter" idx="3"/>
          </p:nvPr>
        </p:nvSpPr>
        <p:spPr>
          <a:xfrm>
            <a:off x="2900910" y="2491684"/>
            <a:ext cx="2011680" cy="2825173"/>
          </a:xfrm>
          <a:noFill/>
          <a:ln w="12700">
            <a:solidFill>
              <a:schemeClr val="accent3"/>
            </a:solidFill>
          </a:ln>
        </p:spPr>
        <p:txBody>
          <a:bodyPr tIns="685800" anchor="t">
            <a:noAutofit/>
          </a:bodyPr>
          <a:lstStyle>
            <a:lvl1pPr marL="0" indent="0" algn="ctr">
              <a:lnSpc>
                <a:spcPct val="100000"/>
              </a:lnSpc>
              <a:spcBef>
                <a:spcPts val="0"/>
              </a:spcBef>
              <a:buNone/>
              <a:defRPr sz="1800" b="1" cap="all" spc="0" baseline="0">
                <a:solidFill>
                  <a:schemeClr val="accent6"/>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8" name="Picture Placeholder 62">
            <a:extLst>
              <a:ext uri="{FF2B5EF4-FFF2-40B4-BE49-F238E27FC236}">
                <a16:creationId xmlns:a16="http://schemas.microsoft.com/office/drawing/2014/main" id="{05E8E8EF-4954-870B-04E5-82BC660A6738}"/>
              </a:ext>
            </a:extLst>
          </p:cNvPr>
          <p:cNvSpPr>
            <a:spLocks noGrp="1"/>
          </p:cNvSpPr>
          <p:nvPr>
            <p:ph type="pic" sz="quarter" idx="27"/>
          </p:nvPr>
        </p:nvSpPr>
        <p:spPr>
          <a:xfrm>
            <a:off x="3554707" y="2111058"/>
            <a:ext cx="704088" cy="704088"/>
          </a:xfrm>
          <a:prstGeom prst="ellipse">
            <a:avLst/>
          </a:prstGeom>
          <a:solidFill>
            <a:schemeClr val="accent3"/>
          </a:solidFill>
        </p:spPr>
        <p:txBody>
          <a:bodyPr lIns="0" tIns="0" rIns="0" bIns="0" anchor="ctr">
            <a:noAutofit/>
          </a:bodyPr>
          <a:lstStyle>
            <a:lvl1pPr marL="0" indent="0" algn="ctr">
              <a:buNone/>
              <a:defRPr sz="900"/>
            </a:lvl1pPr>
          </a:lstStyle>
          <a:p>
            <a:endParaRPr lang="en-US" dirty="0"/>
          </a:p>
        </p:txBody>
      </p:sp>
      <p:sp>
        <p:nvSpPr>
          <p:cNvPr id="58" name="Text Placeholder 51">
            <a:extLst>
              <a:ext uri="{FF2B5EF4-FFF2-40B4-BE49-F238E27FC236}">
                <a16:creationId xmlns:a16="http://schemas.microsoft.com/office/drawing/2014/main" id="{75981CD1-EA26-D1CF-F19E-B58C16BA8A69}"/>
              </a:ext>
            </a:extLst>
          </p:cNvPr>
          <p:cNvSpPr>
            <a:spLocks noGrp="1"/>
          </p:cNvSpPr>
          <p:nvPr>
            <p:ph type="body" sz="quarter" idx="19"/>
          </p:nvPr>
        </p:nvSpPr>
        <p:spPr>
          <a:xfrm>
            <a:off x="2946630" y="3888404"/>
            <a:ext cx="1920240" cy="1371600"/>
          </a:xfrm>
          <a:noFill/>
          <a:ln>
            <a:noFill/>
          </a:ln>
        </p:spPr>
        <p:txBody>
          <a:bodyPr lIns="91440" rIns="91440" anchor="ctr">
            <a:noAutofit/>
          </a:bodyPr>
          <a:lstStyle>
            <a:lvl1pPr marL="0" indent="0" algn="ctr">
              <a:spcBef>
                <a:spcPts val="0"/>
              </a:spcBef>
              <a:buNone/>
              <a:defRPr sz="1500"/>
            </a:lvl1pPr>
          </a:lstStyle>
          <a:p>
            <a:pPr lvl="0"/>
            <a:r>
              <a:rPr lang="en-US" dirty="0"/>
              <a:t>Click to edit Master text styles</a:t>
            </a:r>
          </a:p>
        </p:txBody>
      </p:sp>
      <p:sp>
        <p:nvSpPr>
          <p:cNvPr id="48" name="Text Placeholder 4">
            <a:extLst>
              <a:ext uri="{FF2B5EF4-FFF2-40B4-BE49-F238E27FC236}">
                <a16:creationId xmlns:a16="http://schemas.microsoft.com/office/drawing/2014/main" id="{3A09BBD1-5CBC-B0EF-71C0-054FCB989BC6}"/>
              </a:ext>
            </a:extLst>
          </p:cNvPr>
          <p:cNvSpPr>
            <a:spLocks noGrp="1"/>
          </p:cNvSpPr>
          <p:nvPr>
            <p:ph type="body" sz="quarter" idx="13"/>
          </p:nvPr>
        </p:nvSpPr>
        <p:spPr>
          <a:xfrm>
            <a:off x="5116484" y="2491684"/>
            <a:ext cx="2011680" cy="2825173"/>
          </a:xfrm>
          <a:noFill/>
          <a:ln w="12700">
            <a:solidFill>
              <a:schemeClr val="accent1"/>
            </a:solidFill>
          </a:ln>
        </p:spPr>
        <p:txBody>
          <a:bodyPr tIns="685800" anchor="t">
            <a:noAutofit/>
          </a:bodyPr>
          <a:lstStyle>
            <a:lvl1pPr marL="0" indent="0" algn="ctr">
              <a:lnSpc>
                <a:spcPct val="100000"/>
              </a:lnSpc>
              <a:spcBef>
                <a:spcPts val="0"/>
              </a:spcBef>
              <a:buNone/>
              <a:defRPr sz="1800" b="1" cap="all" spc="0" baseline="0">
                <a:solidFill>
                  <a:schemeClr val="accent6"/>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7" name="Picture Placeholder 62">
            <a:extLst>
              <a:ext uri="{FF2B5EF4-FFF2-40B4-BE49-F238E27FC236}">
                <a16:creationId xmlns:a16="http://schemas.microsoft.com/office/drawing/2014/main" id="{4AD0C8C9-DB5A-6DC8-2729-A21F1A5CF174}"/>
              </a:ext>
            </a:extLst>
          </p:cNvPr>
          <p:cNvSpPr>
            <a:spLocks noGrp="1"/>
          </p:cNvSpPr>
          <p:nvPr>
            <p:ph type="pic" sz="quarter" idx="26"/>
          </p:nvPr>
        </p:nvSpPr>
        <p:spPr>
          <a:xfrm>
            <a:off x="5770280" y="2111058"/>
            <a:ext cx="704088" cy="704088"/>
          </a:xfrm>
          <a:prstGeom prst="ellipse">
            <a:avLst/>
          </a:prstGeom>
          <a:solidFill>
            <a:schemeClr val="accent1"/>
          </a:solidFill>
        </p:spPr>
        <p:txBody>
          <a:bodyPr lIns="0" tIns="0" rIns="0" bIns="0" anchor="ctr">
            <a:noAutofit/>
          </a:bodyPr>
          <a:lstStyle>
            <a:lvl1pPr marL="0" indent="0" algn="ctr">
              <a:buNone/>
              <a:defRPr sz="900"/>
            </a:lvl1pPr>
          </a:lstStyle>
          <a:p>
            <a:endParaRPr lang="en-US" dirty="0"/>
          </a:p>
        </p:txBody>
      </p:sp>
      <p:sp>
        <p:nvSpPr>
          <p:cNvPr id="59" name="Text Placeholder 51">
            <a:extLst>
              <a:ext uri="{FF2B5EF4-FFF2-40B4-BE49-F238E27FC236}">
                <a16:creationId xmlns:a16="http://schemas.microsoft.com/office/drawing/2014/main" id="{F02DE2DC-F65C-32A5-5821-89FB2F53C325}"/>
              </a:ext>
            </a:extLst>
          </p:cNvPr>
          <p:cNvSpPr>
            <a:spLocks noGrp="1"/>
          </p:cNvSpPr>
          <p:nvPr>
            <p:ph type="body" sz="quarter" idx="20"/>
          </p:nvPr>
        </p:nvSpPr>
        <p:spPr>
          <a:xfrm>
            <a:off x="5162204" y="3888404"/>
            <a:ext cx="1920240" cy="1371600"/>
          </a:xfrm>
          <a:noFill/>
          <a:ln>
            <a:noFill/>
          </a:ln>
        </p:spPr>
        <p:txBody>
          <a:bodyPr lIns="91440" rIns="91440" anchor="ctr">
            <a:noAutofit/>
          </a:bodyPr>
          <a:lstStyle>
            <a:lvl1pPr marL="0" indent="0" algn="ctr">
              <a:spcBef>
                <a:spcPts val="0"/>
              </a:spcBef>
              <a:buNone/>
              <a:defRPr sz="1500"/>
            </a:lvl1pPr>
          </a:lstStyle>
          <a:p>
            <a:pPr lvl="0"/>
            <a:r>
              <a:rPr lang="en-US" dirty="0"/>
              <a:t>Click to edit Master text styles</a:t>
            </a:r>
          </a:p>
        </p:txBody>
      </p:sp>
      <p:sp>
        <p:nvSpPr>
          <p:cNvPr id="49" name="Text Placeholder 4">
            <a:extLst>
              <a:ext uri="{FF2B5EF4-FFF2-40B4-BE49-F238E27FC236}">
                <a16:creationId xmlns:a16="http://schemas.microsoft.com/office/drawing/2014/main" id="{084A0326-A0B8-1723-B8BA-B015344F2DCE}"/>
              </a:ext>
            </a:extLst>
          </p:cNvPr>
          <p:cNvSpPr>
            <a:spLocks noGrp="1"/>
          </p:cNvSpPr>
          <p:nvPr>
            <p:ph type="body" sz="quarter" idx="15"/>
          </p:nvPr>
        </p:nvSpPr>
        <p:spPr>
          <a:xfrm>
            <a:off x="7332057" y="2491684"/>
            <a:ext cx="2011680" cy="2825173"/>
          </a:xfrm>
          <a:noFill/>
          <a:ln w="12700">
            <a:solidFill>
              <a:schemeClr val="accent3"/>
            </a:solidFill>
          </a:ln>
        </p:spPr>
        <p:txBody>
          <a:bodyPr tIns="685800" anchor="t">
            <a:noAutofit/>
          </a:bodyPr>
          <a:lstStyle>
            <a:lvl1pPr marL="0" indent="0" algn="ctr">
              <a:lnSpc>
                <a:spcPct val="100000"/>
              </a:lnSpc>
              <a:spcBef>
                <a:spcPts val="0"/>
              </a:spcBef>
              <a:buNone/>
              <a:defRPr sz="1800" b="1" cap="all" spc="0" baseline="0">
                <a:solidFill>
                  <a:schemeClr val="accent6"/>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6" name="Picture Placeholder 62">
            <a:extLst>
              <a:ext uri="{FF2B5EF4-FFF2-40B4-BE49-F238E27FC236}">
                <a16:creationId xmlns:a16="http://schemas.microsoft.com/office/drawing/2014/main" id="{139354A0-F5DF-3AC5-5E8B-A41146C26F3C}"/>
              </a:ext>
            </a:extLst>
          </p:cNvPr>
          <p:cNvSpPr>
            <a:spLocks noGrp="1"/>
          </p:cNvSpPr>
          <p:nvPr>
            <p:ph type="pic" sz="quarter" idx="25"/>
          </p:nvPr>
        </p:nvSpPr>
        <p:spPr>
          <a:xfrm>
            <a:off x="7985853" y="2111058"/>
            <a:ext cx="704088" cy="704088"/>
          </a:xfrm>
          <a:prstGeom prst="ellipse">
            <a:avLst/>
          </a:prstGeom>
          <a:solidFill>
            <a:schemeClr val="accent3"/>
          </a:solidFill>
        </p:spPr>
        <p:txBody>
          <a:bodyPr lIns="0" tIns="0" rIns="0" bIns="0" anchor="ctr">
            <a:noAutofit/>
          </a:bodyPr>
          <a:lstStyle>
            <a:lvl1pPr marL="0" indent="0" algn="ctr">
              <a:buNone/>
              <a:defRPr sz="900"/>
            </a:lvl1pPr>
          </a:lstStyle>
          <a:p>
            <a:endParaRPr lang="en-US" dirty="0"/>
          </a:p>
        </p:txBody>
      </p:sp>
      <p:sp>
        <p:nvSpPr>
          <p:cNvPr id="60" name="Text Placeholder 51">
            <a:extLst>
              <a:ext uri="{FF2B5EF4-FFF2-40B4-BE49-F238E27FC236}">
                <a16:creationId xmlns:a16="http://schemas.microsoft.com/office/drawing/2014/main" id="{E9730E82-F317-686A-8777-D81705BCC706}"/>
              </a:ext>
            </a:extLst>
          </p:cNvPr>
          <p:cNvSpPr>
            <a:spLocks noGrp="1"/>
          </p:cNvSpPr>
          <p:nvPr>
            <p:ph type="body" sz="quarter" idx="21"/>
          </p:nvPr>
        </p:nvSpPr>
        <p:spPr>
          <a:xfrm>
            <a:off x="7377777" y="3888404"/>
            <a:ext cx="1920240" cy="1371600"/>
          </a:xfrm>
          <a:noFill/>
          <a:ln>
            <a:noFill/>
          </a:ln>
        </p:spPr>
        <p:txBody>
          <a:bodyPr lIns="91440" rIns="91440" anchor="ctr">
            <a:noAutofit/>
          </a:bodyPr>
          <a:lstStyle>
            <a:lvl1pPr marL="0" indent="0" algn="ctr">
              <a:spcBef>
                <a:spcPts val="0"/>
              </a:spcBef>
              <a:buNone/>
              <a:defRPr sz="1500"/>
            </a:lvl1pPr>
          </a:lstStyle>
          <a:p>
            <a:pPr lvl="0"/>
            <a:r>
              <a:rPr lang="en-US" dirty="0"/>
              <a:t>Click to edit Master text styles</a:t>
            </a:r>
          </a:p>
        </p:txBody>
      </p:sp>
      <p:sp>
        <p:nvSpPr>
          <p:cNvPr id="50" name="Text Placeholder 4">
            <a:extLst>
              <a:ext uri="{FF2B5EF4-FFF2-40B4-BE49-F238E27FC236}">
                <a16:creationId xmlns:a16="http://schemas.microsoft.com/office/drawing/2014/main" id="{0E3B57F3-1903-446F-D989-D6CA342D0861}"/>
              </a:ext>
            </a:extLst>
          </p:cNvPr>
          <p:cNvSpPr>
            <a:spLocks noGrp="1"/>
          </p:cNvSpPr>
          <p:nvPr>
            <p:ph type="body" sz="quarter" idx="17"/>
          </p:nvPr>
        </p:nvSpPr>
        <p:spPr>
          <a:xfrm>
            <a:off x="9547629" y="2491684"/>
            <a:ext cx="2011680" cy="2825173"/>
          </a:xfrm>
          <a:noFill/>
          <a:ln w="12700">
            <a:solidFill>
              <a:schemeClr val="accent1"/>
            </a:solidFill>
          </a:ln>
        </p:spPr>
        <p:txBody>
          <a:bodyPr tIns="685800" anchor="t">
            <a:noAutofit/>
          </a:bodyPr>
          <a:lstStyle>
            <a:lvl1pPr marL="0" indent="0" algn="ctr">
              <a:lnSpc>
                <a:spcPct val="100000"/>
              </a:lnSpc>
              <a:spcBef>
                <a:spcPts val="0"/>
              </a:spcBef>
              <a:buNone/>
              <a:defRPr sz="1800" b="1" cap="all" spc="0" baseline="0">
                <a:solidFill>
                  <a:schemeClr val="accent6"/>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5" name="Picture Placeholder 62">
            <a:extLst>
              <a:ext uri="{FF2B5EF4-FFF2-40B4-BE49-F238E27FC236}">
                <a16:creationId xmlns:a16="http://schemas.microsoft.com/office/drawing/2014/main" id="{D5BF3A8A-72F1-392E-855B-5B36E244A7FD}"/>
              </a:ext>
            </a:extLst>
          </p:cNvPr>
          <p:cNvSpPr>
            <a:spLocks noGrp="1"/>
          </p:cNvSpPr>
          <p:nvPr>
            <p:ph type="pic" sz="quarter" idx="24"/>
          </p:nvPr>
        </p:nvSpPr>
        <p:spPr>
          <a:xfrm>
            <a:off x="10201425" y="2111058"/>
            <a:ext cx="704088" cy="704088"/>
          </a:xfrm>
          <a:prstGeom prst="ellipse">
            <a:avLst/>
          </a:prstGeom>
          <a:solidFill>
            <a:schemeClr val="accent1"/>
          </a:solidFill>
        </p:spPr>
        <p:txBody>
          <a:bodyPr lIns="0" tIns="0" rIns="0" bIns="0" anchor="ctr">
            <a:noAutofit/>
          </a:bodyPr>
          <a:lstStyle>
            <a:lvl1pPr marL="0" indent="0" algn="ctr">
              <a:buNone/>
              <a:defRPr sz="900"/>
            </a:lvl1pPr>
          </a:lstStyle>
          <a:p>
            <a:endParaRPr lang="en-US" dirty="0"/>
          </a:p>
        </p:txBody>
      </p:sp>
      <p:sp>
        <p:nvSpPr>
          <p:cNvPr id="61" name="Text Placeholder 51">
            <a:extLst>
              <a:ext uri="{FF2B5EF4-FFF2-40B4-BE49-F238E27FC236}">
                <a16:creationId xmlns:a16="http://schemas.microsoft.com/office/drawing/2014/main" id="{2AED5DDC-3165-FA12-0310-E3545223E292}"/>
              </a:ext>
            </a:extLst>
          </p:cNvPr>
          <p:cNvSpPr>
            <a:spLocks noGrp="1"/>
          </p:cNvSpPr>
          <p:nvPr>
            <p:ph type="body" sz="quarter" idx="22"/>
          </p:nvPr>
        </p:nvSpPr>
        <p:spPr>
          <a:xfrm>
            <a:off x="9593349" y="3888404"/>
            <a:ext cx="1920240" cy="1371600"/>
          </a:xfrm>
          <a:noFill/>
          <a:ln>
            <a:noFill/>
          </a:ln>
        </p:spPr>
        <p:txBody>
          <a:bodyPr lIns="91440" rIns="91440" anchor="ctr">
            <a:noAutofit/>
          </a:bodyPr>
          <a:lstStyle>
            <a:lvl1pPr marL="0" indent="0" algn="ctr">
              <a:spcBef>
                <a:spcPts val="0"/>
              </a:spcBef>
              <a:buNone/>
              <a:defRPr sz="1500"/>
            </a:lvl1pPr>
          </a:lstStyle>
          <a:p>
            <a:pPr lvl="0"/>
            <a:r>
              <a:rPr lang="en-US" dirty="0"/>
              <a:t>Click to edit Master text styles</a:t>
            </a:r>
          </a:p>
        </p:txBody>
      </p:sp>
    </p:spTree>
    <p:extLst>
      <p:ext uri="{BB962C8B-B14F-4D97-AF65-F5344CB8AC3E}">
        <p14:creationId xmlns:p14="http://schemas.microsoft.com/office/powerpoint/2010/main" val="11857509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29" name="Freeform: Shape 28">
            <a:extLst>
              <a:ext uri="{FF2B5EF4-FFF2-40B4-BE49-F238E27FC236}">
                <a16:creationId xmlns:a16="http://schemas.microsoft.com/office/drawing/2014/main" id="{E2DECB02-D9CE-E57A-0604-BFF41EC38AFA}"/>
              </a:ext>
            </a:extLst>
          </p:cNvPr>
          <p:cNvSpPr/>
          <p:nvPr userDrawn="1"/>
        </p:nvSpPr>
        <p:spPr>
          <a:xfrm>
            <a:off x="0" y="0"/>
            <a:ext cx="2838450" cy="2857958"/>
          </a:xfrm>
          <a:custGeom>
            <a:avLst/>
            <a:gdLst>
              <a:gd name="connsiteX0" fmla="*/ 1971005 w 2838450"/>
              <a:gd name="connsiteY0" fmla="*/ 0 h 2857958"/>
              <a:gd name="connsiteX1" fmla="*/ 2838450 w 2838450"/>
              <a:gd name="connsiteY1" fmla="*/ 0 h 2857958"/>
              <a:gd name="connsiteX2" fmla="*/ 2838450 w 2838450"/>
              <a:gd name="connsiteY2" fmla="*/ 7240 h 2857958"/>
              <a:gd name="connsiteX3" fmla="*/ 278890 w 2838450"/>
              <a:gd name="connsiteY3" fmla="*/ 2843883 h 2857958"/>
              <a:gd name="connsiteX4" fmla="*/ 0 w 2838450"/>
              <a:gd name="connsiteY4" fmla="*/ 2857958 h 2857958"/>
              <a:gd name="connsiteX5" fmla="*/ 0 w 2838450"/>
              <a:gd name="connsiteY5" fmla="*/ 1990580 h 2857958"/>
              <a:gd name="connsiteX6" fmla="*/ 190293 w 2838450"/>
              <a:gd name="connsiteY6" fmla="*/ 1980883 h 2857958"/>
              <a:gd name="connsiteX7" fmla="*/ 1960910 w 2838450"/>
              <a:gd name="connsiteY7" fmla="*/ 200390 h 2857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38450" h="2857958">
                <a:moveTo>
                  <a:pt x="1971005" y="0"/>
                </a:moveTo>
                <a:lnTo>
                  <a:pt x="2838450" y="0"/>
                </a:lnTo>
                <a:lnTo>
                  <a:pt x="2838450" y="7240"/>
                </a:lnTo>
                <a:cubicBezTo>
                  <a:pt x="2838450" y="1484015"/>
                  <a:pt x="1716931" y="2697914"/>
                  <a:pt x="278890" y="2843883"/>
                </a:cubicBezTo>
                <a:lnTo>
                  <a:pt x="0" y="2857958"/>
                </a:lnTo>
                <a:lnTo>
                  <a:pt x="0" y="1990580"/>
                </a:lnTo>
                <a:lnTo>
                  <a:pt x="190293" y="1980883"/>
                </a:lnTo>
                <a:cubicBezTo>
                  <a:pt x="1124600" y="1885128"/>
                  <a:pt x="1866185" y="1135788"/>
                  <a:pt x="1960910" y="200390"/>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pPr lvl="0"/>
            <a:endParaRPr lang="en-US" dirty="0"/>
          </a:p>
        </p:txBody>
      </p:sp>
      <p:sp>
        <p:nvSpPr>
          <p:cNvPr id="26" name="Freeform: Shape 25">
            <a:extLst>
              <a:ext uri="{FF2B5EF4-FFF2-40B4-BE49-F238E27FC236}">
                <a16:creationId xmlns:a16="http://schemas.microsoft.com/office/drawing/2014/main" id="{68E760EA-7D83-1DF2-A8EE-4F218084E74F}"/>
              </a:ext>
            </a:extLst>
          </p:cNvPr>
          <p:cNvSpPr/>
          <p:nvPr userDrawn="1"/>
        </p:nvSpPr>
        <p:spPr>
          <a:xfrm>
            <a:off x="1" y="-1"/>
            <a:ext cx="1970627" cy="1990267"/>
          </a:xfrm>
          <a:custGeom>
            <a:avLst/>
            <a:gdLst>
              <a:gd name="connsiteX0" fmla="*/ 0 w 1970627"/>
              <a:gd name="connsiteY0" fmla="*/ 0 h 1990267"/>
              <a:gd name="connsiteX1" fmla="*/ 1970627 w 1970627"/>
              <a:gd name="connsiteY1" fmla="*/ 0 h 1990267"/>
              <a:gd name="connsiteX2" fmla="*/ 1960534 w 1970627"/>
              <a:gd name="connsiteY2" fmla="*/ 200357 h 1990267"/>
              <a:gd name="connsiteX3" fmla="*/ 190254 w 1970627"/>
              <a:gd name="connsiteY3" fmla="*/ 1980571 h 1990267"/>
              <a:gd name="connsiteX4" fmla="*/ 0 w 1970627"/>
              <a:gd name="connsiteY4" fmla="*/ 1990267 h 19902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0627" h="1990267">
                <a:moveTo>
                  <a:pt x="0" y="0"/>
                </a:moveTo>
                <a:lnTo>
                  <a:pt x="1970627" y="0"/>
                </a:lnTo>
                <a:lnTo>
                  <a:pt x="1960534" y="200357"/>
                </a:lnTo>
                <a:cubicBezTo>
                  <a:pt x="1865827" y="1135608"/>
                  <a:pt x="1124383" y="1884831"/>
                  <a:pt x="190254" y="1980571"/>
                </a:cubicBezTo>
                <a:lnTo>
                  <a:pt x="0" y="1990267"/>
                </a:lnTo>
                <a:close/>
              </a:path>
            </a:pathLst>
          </a:custGeom>
          <a:solidFill>
            <a:srgbClr val="F5CDCE"/>
          </a:solidFill>
          <a:ln>
            <a:noFill/>
          </a:ln>
        </p:spPr>
        <p:txBody>
          <a:bodyPr vert="horz" wrap="square" lIns="91440" tIns="45720" rIns="91440" bIns="45720" numCol="1" anchor="t" anchorCtr="0" compatLnSpc="1">
            <a:prstTxWarp prst="textNoShape">
              <a:avLst/>
            </a:prstTxWarp>
            <a:noAutofit/>
          </a:bodyPr>
          <a:lstStyle/>
          <a:p>
            <a:pPr lvl="0"/>
            <a:endParaRPr lang="en-US" dirty="0">
              <a:solidFill>
                <a:schemeClr val="tx1"/>
              </a:solidFill>
            </a:endParaRPr>
          </a:p>
        </p:txBody>
      </p:sp>
      <p:sp>
        <p:nvSpPr>
          <p:cNvPr id="16" name="Freeform: Shape 15">
            <a:extLst>
              <a:ext uri="{FF2B5EF4-FFF2-40B4-BE49-F238E27FC236}">
                <a16:creationId xmlns:a16="http://schemas.microsoft.com/office/drawing/2014/main" id="{FF3F3353-78A1-F584-81A6-9513382DF18F}"/>
              </a:ext>
            </a:extLst>
          </p:cNvPr>
          <p:cNvSpPr/>
          <p:nvPr userDrawn="1"/>
        </p:nvSpPr>
        <p:spPr>
          <a:xfrm>
            <a:off x="1" y="1"/>
            <a:ext cx="1003449" cy="1013015"/>
          </a:xfrm>
          <a:custGeom>
            <a:avLst/>
            <a:gdLst>
              <a:gd name="connsiteX0" fmla="*/ 0 w 1003449"/>
              <a:gd name="connsiteY0" fmla="*/ 0 h 1013015"/>
              <a:gd name="connsiteX1" fmla="*/ 1003449 w 1003449"/>
              <a:gd name="connsiteY1" fmla="*/ 0 h 1013015"/>
              <a:gd name="connsiteX2" fmla="*/ 998306 w 1003449"/>
              <a:gd name="connsiteY2" fmla="*/ 100639 h 1013015"/>
              <a:gd name="connsiteX3" fmla="*/ 90663 w 1003449"/>
              <a:gd name="connsiteY3" fmla="*/ 1008380 h 1013015"/>
              <a:gd name="connsiteX4" fmla="*/ 0 w 1003449"/>
              <a:gd name="connsiteY4" fmla="*/ 1013015 h 1013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3449" h="1013015">
                <a:moveTo>
                  <a:pt x="0" y="0"/>
                </a:moveTo>
                <a:lnTo>
                  <a:pt x="1003449" y="0"/>
                </a:lnTo>
                <a:lnTo>
                  <a:pt x="998306" y="100639"/>
                </a:lnTo>
                <a:cubicBezTo>
                  <a:pt x="949402" y="576784"/>
                  <a:pt x="566756" y="959471"/>
                  <a:pt x="90663" y="1008380"/>
                </a:cubicBezTo>
                <a:lnTo>
                  <a:pt x="0" y="1013015"/>
                </a:ln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pPr lvl="0"/>
            <a:endParaRPr lang="en-US" dirty="0">
              <a:solidFill>
                <a:schemeClr val="tx1"/>
              </a:solidFill>
            </a:endParaRPr>
          </a:p>
        </p:txBody>
      </p:sp>
      <p:sp>
        <p:nvSpPr>
          <p:cNvPr id="2" name="Title 1">
            <a:extLst>
              <a:ext uri="{FF2B5EF4-FFF2-40B4-BE49-F238E27FC236}">
                <a16:creationId xmlns:a16="http://schemas.microsoft.com/office/drawing/2014/main" id="{A65C6DDD-D2BB-0153-0F53-9F7C17BDFD2B}"/>
              </a:ext>
            </a:extLst>
          </p:cNvPr>
          <p:cNvSpPr>
            <a:spLocks noGrp="1"/>
          </p:cNvSpPr>
          <p:nvPr>
            <p:ph type="title"/>
          </p:nvPr>
        </p:nvSpPr>
        <p:spPr/>
        <p:txBody>
          <a:bodyPr/>
          <a:lstStyle>
            <a:lvl1pPr>
              <a:lnSpc>
                <a:spcPct val="100000"/>
              </a:lnSpc>
              <a:defRPr>
                <a:solidFill>
                  <a:schemeClr val="accent6"/>
                </a:solidFill>
              </a:defRPr>
            </a:lvl1pPr>
          </a:lstStyle>
          <a:p>
            <a:r>
              <a:rPr lang="en-US" dirty="0"/>
              <a:t>Click to edit Master title style</a:t>
            </a:r>
          </a:p>
        </p:txBody>
      </p:sp>
      <p:sp>
        <p:nvSpPr>
          <p:cNvPr id="5" name="Slide Number Placeholder 4">
            <a:extLst>
              <a:ext uri="{FF2B5EF4-FFF2-40B4-BE49-F238E27FC236}">
                <a16:creationId xmlns:a16="http://schemas.microsoft.com/office/drawing/2014/main" id="{471A846E-CBB1-9805-456D-0C0B890912B7}"/>
              </a:ext>
            </a:extLst>
          </p:cNvPr>
          <p:cNvSpPr>
            <a:spLocks noGrp="1"/>
          </p:cNvSpPr>
          <p:nvPr>
            <p:ph type="sldNum" sz="quarter" idx="12"/>
          </p:nvPr>
        </p:nvSpPr>
        <p:spPr/>
        <p:txBody>
          <a:bodyPr/>
          <a:lstStyle/>
          <a:p>
            <a:fld id="{48F63A3B-78C7-47BE-AE5E-E10140E04643}" type="slidenum">
              <a:rPr lang="en-US" smtClean="0"/>
              <a:pPr/>
              <a:t>‹#›</a:t>
            </a:fld>
            <a:endParaRPr lang="en-US" dirty="0"/>
          </a:p>
        </p:txBody>
      </p:sp>
      <p:sp>
        <p:nvSpPr>
          <p:cNvPr id="30" name="Image 2" descr="preencoded.png">
            <a:extLst>
              <a:ext uri="{FF2B5EF4-FFF2-40B4-BE49-F238E27FC236}">
                <a16:creationId xmlns:a16="http://schemas.microsoft.com/office/drawing/2014/main" id="{790E862E-398F-571C-EC2C-3D17164DE059}"/>
              </a:ext>
            </a:extLst>
          </p:cNvPr>
          <p:cNvSpPr/>
          <p:nvPr/>
        </p:nvSpPr>
        <p:spPr>
          <a:xfrm>
            <a:off x="1458332" y="590133"/>
            <a:ext cx="775021" cy="775021"/>
          </a:xfrm>
          <a:custGeom>
            <a:avLst/>
            <a:gdLst>
              <a:gd name="connsiteX0" fmla="*/ 387511 w 775021"/>
              <a:gd name="connsiteY0" fmla="*/ 775021 h 775021"/>
              <a:gd name="connsiteX1" fmla="*/ 775021 w 775021"/>
              <a:gd name="connsiteY1" fmla="*/ 387511 h 775021"/>
              <a:gd name="connsiteX2" fmla="*/ 387511 w 775021"/>
              <a:gd name="connsiteY2" fmla="*/ 0 h 775021"/>
              <a:gd name="connsiteX3" fmla="*/ 0 w 775021"/>
              <a:gd name="connsiteY3" fmla="*/ 387511 h 775021"/>
              <a:gd name="connsiteX4" fmla="*/ 387511 w 775021"/>
              <a:gd name="connsiteY4" fmla="*/ 775021 h 775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5021" h="775021">
                <a:moveTo>
                  <a:pt x="387511" y="775021"/>
                </a:moveTo>
                <a:cubicBezTo>
                  <a:pt x="601527" y="775021"/>
                  <a:pt x="775021" y="601527"/>
                  <a:pt x="775021" y="387511"/>
                </a:cubicBezTo>
                <a:cubicBezTo>
                  <a:pt x="775021" y="173494"/>
                  <a:pt x="601527" y="0"/>
                  <a:pt x="387511" y="0"/>
                </a:cubicBezTo>
                <a:cubicBezTo>
                  <a:pt x="173494" y="0"/>
                  <a:pt x="0" y="173494"/>
                  <a:pt x="0" y="387511"/>
                </a:cubicBezTo>
                <a:cubicBezTo>
                  <a:pt x="0" y="601527"/>
                  <a:pt x="173494" y="775021"/>
                  <a:pt x="387511" y="775021"/>
                </a:cubicBezTo>
                <a:close/>
              </a:path>
            </a:pathLst>
          </a:custGeom>
          <a:solidFill>
            <a:schemeClr val="accent6"/>
          </a:solidFill>
          <a:ln w="3801" cap="flat">
            <a:noFill/>
            <a:prstDash val="solid"/>
            <a:miter/>
          </a:ln>
        </p:spPr>
        <p:txBody>
          <a:bodyPr rtlCol="0" anchor="ctr"/>
          <a:lstStyle/>
          <a:p>
            <a:endParaRPr lang="en-US" dirty="0"/>
          </a:p>
        </p:txBody>
      </p:sp>
      <p:sp>
        <p:nvSpPr>
          <p:cNvPr id="31" name="Text Placeholder 2">
            <a:extLst>
              <a:ext uri="{FF2B5EF4-FFF2-40B4-BE49-F238E27FC236}">
                <a16:creationId xmlns:a16="http://schemas.microsoft.com/office/drawing/2014/main" id="{AB1DF8DE-0EED-2627-4B5E-266C0BC276BE}"/>
              </a:ext>
            </a:extLst>
          </p:cNvPr>
          <p:cNvSpPr>
            <a:spLocks noGrp="1"/>
          </p:cNvSpPr>
          <p:nvPr>
            <p:ph type="body" idx="1" hasCustomPrompt="1"/>
          </p:nvPr>
        </p:nvSpPr>
        <p:spPr>
          <a:xfrm>
            <a:off x="685338" y="3017520"/>
            <a:ext cx="1993392" cy="557784"/>
          </a:xfrm>
          <a:solidFill>
            <a:schemeClr val="accent3"/>
          </a:solidFill>
          <a:ln>
            <a:noFill/>
          </a:ln>
        </p:spPr>
        <p:txBody>
          <a:bodyPr lIns="0" tIns="0" rIns="0" bIns="0" anchor="ctr">
            <a:noAutofit/>
          </a:bodyPr>
          <a:lstStyle>
            <a:lvl1pPr marL="0" indent="0" algn="ctr">
              <a:lnSpc>
                <a:spcPct val="100000"/>
              </a:lnSpc>
              <a:spcBef>
                <a:spcPts val="0"/>
              </a:spcBef>
              <a:buNone/>
              <a:defRPr sz="1800" b="1" cap="all" spc="0" baseline="0">
                <a:solidFill>
                  <a:schemeClr val="accent6"/>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MMM YYYY</a:t>
            </a:r>
          </a:p>
        </p:txBody>
      </p:sp>
      <p:sp>
        <p:nvSpPr>
          <p:cNvPr id="32" name="Text Placeholder 4">
            <a:extLst>
              <a:ext uri="{FF2B5EF4-FFF2-40B4-BE49-F238E27FC236}">
                <a16:creationId xmlns:a16="http://schemas.microsoft.com/office/drawing/2014/main" id="{5AE99EEE-38C4-CB2D-EEA0-8A2EB6F129E4}"/>
              </a:ext>
            </a:extLst>
          </p:cNvPr>
          <p:cNvSpPr>
            <a:spLocks noGrp="1"/>
          </p:cNvSpPr>
          <p:nvPr>
            <p:ph type="body" sz="quarter" idx="3" hasCustomPrompt="1"/>
          </p:nvPr>
        </p:nvSpPr>
        <p:spPr>
          <a:xfrm>
            <a:off x="2900911" y="3017520"/>
            <a:ext cx="1993392" cy="557784"/>
          </a:xfrm>
          <a:solidFill>
            <a:schemeClr val="accent1"/>
          </a:solidFill>
          <a:ln>
            <a:noFill/>
          </a:ln>
        </p:spPr>
        <p:txBody>
          <a:bodyPr lIns="0" tIns="0" rIns="0" bIns="0" anchor="ctr">
            <a:noAutofit/>
          </a:bodyPr>
          <a:lstStyle>
            <a:lvl1pPr marL="0" indent="0" algn="ctr">
              <a:lnSpc>
                <a:spcPct val="100000"/>
              </a:lnSpc>
              <a:spcBef>
                <a:spcPts val="0"/>
              </a:spcBef>
              <a:buNone/>
              <a:defRPr sz="1800" b="1" cap="all" spc="0" baseline="0">
                <a:solidFill>
                  <a:schemeClr val="accent6"/>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MMM YYYY</a:t>
            </a:r>
          </a:p>
        </p:txBody>
      </p:sp>
      <p:sp>
        <p:nvSpPr>
          <p:cNvPr id="33" name="Text Placeholder 4">
            <a:extLst>
              <a:ext uri="{FF2B5EF4-FFF2-40B4-BE49-F238E27FC236}">
                <a16:creationId xmlns:a16="http://schemas.microsoft.com/office/drawing/2014/main" id="{AA90F0AE-69F4-EBD3-AED1-81E98D34811D}"/>
              </a:ext>
            </a:extLst>
          </p:cNvPr>
          <p:cNvSpPr>
            <a:spLocks noGrp="1"/>
          </p:cNvSpPr>
          <p:nvPr>
            <p:ph type="body" sz="quarter" idx="13" hasCustomPrompt="1"/>
          </p:nvPr>
        </p:nvSpPr>
        <p:spPr>
          <a:xfrm>
            <a:off x="5116484" y="3017520"/>
            <a:ext cx="1993392" cy="557784"/>
          </a:xfrm>
          <a:solidFill>
            <a:schemeClr val="accent3"/>
          </a:solidFill>
          <a:ln>
            <a:noFill/>
          </a:ln>
        </p:spPr>
        <p:txBody>
          <a:bodyPr lIns="0" tIns="0" rIns="0" bIns="0" anchor="ctr">
            <a:noAutofit/>
          </a:bodyPr>
          <a:lstStyle>
            <a:lvl1pPr marL="0" indent="0" algn="ctr">
              <a:lnSpc>
                <a:spcPct val="100000"/>
              </a:lnSpc>
              <a:spcBef>
                <a:spcPts val="0"/>
              </a:spcBef>
              <a:buNone/>
              <a:defRPr sz="1800" b="1" cap="all" spc="0" baseline="0">
                <a:solidFill>
                  <a:schemeClr val="accent6"/>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MMM YYYY</a:t>
            </a:r>
          </a:p>
        </p:txBody>
      </p:sp>
      <p:sp>
        <p:nvSpPr>
          <p:cNvPr id="34" name="Text Placeholder 4">
            <a:extLst>
              <a:ext uri="{FF2B5EF4-FFF2-40B4-BE49-F238E27FC236}">
                <a16:creationId xmlns:a16="http://schemas.microsoft.com/office/drawing/2014/main" id="{F9E49243-B04A-D7AF-B4C7-8E1AE776F811}"/>
              </a:ext>
            </a:extLst>
          </p:cNvPr>
          <p:cNvSpPr>
            <a:spLocks noGrp="1"/>
          </p:cNvSpPr>
          <p:nvPr>
            <p:ph type="body" sz="quarter" idx="15" hasCustomPrompt="1"/>
          </p:nvPr>
        </p:nvSpPr>
        <p:spPr>
          <a:xfrm>
            <a:off x="7332057" y="3017520"/>
            <a:ext cx="1993392" cy="557784"/>
          </a:xfrm>
          <a:solidFill>
            <a:schemeClr val="accent1"/>
          </a:solidFill>
          <a:ln>
            <a:noFill/>
          </a:ln>
        </p:spPr>
        <p:txBody>
          <a:bodyPr lIns="0" tIns="0" rIns="0" bIns="0" anchor="ctr">
            <a:noAutofit/>
          </a:bodyPr>
          <a:lstStyle>
            <a:lvl1pPr marL="0" indent="0" algn="ctr">
              <a:lnSpc>
                <a:spcPct val="100000"/>
              </a:lnSpc>
              <a:spcBef>
                <a:spcPts val="0"/>
              </a:spcBef>
              <a:buNone/>
              <a:defRPr sz="1800" b="1" cap="all" spc="0" baseline="0">
                <a:solidFill>
                  <a:schemeClr val="accent6"/>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MMM YYYY</a:t>
            </a:r>
          </a:p>
        </p:txBody>
      </p:sp>
      <p:sp>
        <p:nvSpPr>
          <p:cNvPr id="35" name="Text Placeholder 4">
            <a:extLst>
              <a:ext uri="{FF2B5EF4-FFF2-40B4-BE49-F238E27FC236}">
                <a16:creationId xmlns:a16="http://schemas.microsoft.com/office/drawing/2014/main" id="{4780DCD4-46DE-8C31-9F39-FC6E45FC1EBE}"/>
              </a:ext>
            </a:extLst>
          </p:cNvPr>
          <p:cNvSpPr>
            <a:spLocks noGrp="1"/>
          </p:cNvSpPr>
          <p:nvPr>
            <p:ph type="body" sz="quarter" idx="17" hasCustomPrompt="1"/>
          </p:nvPr>
        </p:nvSpPr>
        <p:spPr>
          <a:xfrm>
            <a:off x="9547629" y="3017520"/>
            <a:ext cx="1993392" cy="557784"/>
          </a:xfrm>
          <a:solidFill>
            <a:schemeClr val="accent3"/>
          </a:solidFill>
          <a:ln>
            <a:noFill/>
          </a:ln>
        </p:spPr>
        <p:txBody>
          <a:bodyPr lIns="0" tIns="0" rIns="0" bIns="0" anchor="ctr">
            <a:noAutofit/>
          </a:bodyPr>
          <a:lstStyle>
            <a:lvl1pPr marL="0" indent="0" algn="ctr">
              <a:lnSpc>
                <a:spcPct val="100000"/>
              </a:lnSpc>
              <a:spcBef>
                <a:spcPts val="0"/>
              </a:spcBef>
              <a:buNone/>
              <a:defRPr sz="1800" b="1" cap="all" spc="0" baseline="0">
                <a:solidFill>
                  <a:schemeClr val="accent6"/>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MMM YYYY</a:t>
            </a:r>
          </a:p>
        </p:txBody>
      </p:sp>
      <p:sp>
        <p:nvSpPr>
          <p:cNvPr id="36" name="Text Placeholder 51">
            <a:extLst>
              <a:ext uri="{FF2B5EF4-FFF2-40B4-BE49-F238E27FC236}">
                <a16:creationId xmlns:a16="http://schemas.microsoft.com/office/drawing/2014/main" id="{9FBDF935-4925-03EC-CBC9-1EBA90DF849B}"/>
              </a:ext>
            </a:extLst>
          </p:cNvPr>
          <p:cNvSpPr>
            <a:spLocks noGrp="1"/>
          </p:cNvSpPr>
          <p:nvPr>
            <p:ph type="body" sz="quarter" idx="18"/>
          </p:nvPr>
        </p:nvSpPr>
        <p:spPr>
          <a:xfrm>
            <a:off x="685338" y="4745736"/>
            <a:ext cx="1993392" cy="795528"/>
          </a:xfrm>
          <a:noFill/>
        </p:spPr>
        <p:txBody>
          <a:bodyPr lIns="0" rIns="0" anchor="t" anchorCtr="0">
            <a:noAutofit/>
          </a:bodyPr>
          <a:lstStyle>
            <a:lvl1pPr marL="0" indent="0" algn="ctr">
              <a:spcBef>
                <a:spcPts val="0"/>
              </a:spcBef>
              <a:buNone/>
              <a:defRPr sz="1500"/>
            </a:lvl1pPr>
          </a:lstStyle>
          <a:p>
            <a:pPr lvl="0"/>
            <a:r>
              <a:rPr lang="en-US" dirty="0"/>
              <a:t>Click to edit Master text styles</a:t>
            </a:r>
          </a:p>
        </p:txBody>
      </p:sp>
      <p:sp>
        <p:nvSpPr>
          <p:cNvPr id="37" name="Text Placeholder 51">
            <a:extLst>
              <a:ext uri="{FF2B5EF4-FFF2-40B4-BE49-F238E27FC236}">
                <a16:creationId xmlns:a16="http://schemas.microsoft.com/office/drawing/2014/main" id="{9BB76AA7-442D-54A7-D075-C67F47438963}"/>
              </a:ext>
            </a:extLst>
          </p:cNvPr>
          <p:cNvSpPr>
            <a:spLocks noGrp="1"/>
          </p:cNvSpPr>
          <p:nvPr>
            <p:ph type="body" sz="quarter" idx="19"/>
          </p:nvPr>
        </p:nvSpPr>
        <p:spPr>
          <a:xfrm>
            <a:off x="2900911" y="4745736"/>
            <a:ext cx="1993392" cy="795528"/>
          </a:xfrm>
          <a:noFill/>
        </p:spPr>
        <p:txBody>
          <a:bodyPr lIns="0" rIns="0" anchor="t" anchorCtr="0">
            <a:noAutofit/>
          </a:bodyPr>
          <a:lstStyle>
            <a:lvl1pPr marL="0" indent="0" algn="ctr">
              <a:spcBef>
                <a:spcPts val="0"/>
              </a:spcBef>
              <a:buNone/>
              <a:defRPr sz="1500"/>
            </a:lvl1pPr>
          </a:lstStyle>
          <a:p>
            <a:pPr lvl="0"/>
            <a:r>
              <a:rPr lang="en-US" dirty="0"/>
              <a:t>Click to edit Master text styles</a:t>
            </a:r>
          </a:p>
        </p:txBody>
      </p:sp>
      <p:sp>
        <p:nvSpPr>
          <p:cNvPr id="38" name="Text Placeholder 51">
            <a:extLst>
              <a:ext uri="{FF2B5EF4-FFF2-40B4-BE49-F238E27FC236}">
                <a16:creationId xmlns:a16="http://schemas.microsoft.com/office/drawing/2014/main" id="{9E419856-1586-F2D8-A1B4-F67FEE9839DF}"/>
              </a:ext>
            </a:extLst>
          </p:cNvPr>
          <p:cNvSpPr>
            <a:spLocks noGrp="1"/>
          </p:cNvSpPr>
          <p:nvPr>
            <p:ph type="body" sz="quarter" idx="20"/>
          </p:nvPr>
        </p:nvSpPr>
        <p:spPr>
          <a:xfrm>
            <a:off x="5116484" y="4745736"/>
            <a:ext cx="1993392" cy="795528"/>
          </a:xfrm>
          <a:noFill/>
        </p:spPr>
        <p:txBody>
          <a:bodyPr lIns="0" rIns="0" anchor="t" anchorCtr="0">
            <a:noAutofit/>
          </a:bodyPr>
          <a:lstStyle>
            <a:lvl1pPr marL="0" indent="0" algn="ctr">
              <a:spcBef>
                <a:spcPts val="0"/>
              </a:spcBef>
              <a:buNone/>
              <a:defRPr sz="1500"/>
            </a:lvl1pPr>
          </a:lstStyle>
          <a:p>
            <a:pPr lvl="0"/>
            <a:r>
              <a:rPr lang="en-US" dirty="0"/>
              <a:t>Click to edit Master text styles</a:t>
            </a:r>
          </a:p>
        </p:txBody>
      </p:sp>
      <p:sp>
        <p:nvSpPr>
          <p:cNvPr id="39" name="Text Placeholder 51">
            <a:extLst>
              <a:ext uri="{FF2B5EF4-FFF2-40B4-BE49-F238E27FC236}">
                <a16:creationId xmlns:a16="http://schemas.microsoft.com/office/drawing/2014/main" id="{AED74DD2-EAE3-76BF-56B9-C04FCED1F2DB}"/>
              </a:ext>
            </a:extLst>
          </p:cNvPr>
          <p:cNvSpPr>
            <a:spLocks noGrp="1"/>
          </p:cNvSpPr>
          <p:nvPr>
            <p:ph type="body" sz="quarter" idx="21"/>
          </p:nvPr>
        </p:nvSpPr>
        <p:spPr>
          <a:xfrm>
            <a:off x="7332057" y="4745736"/>
            <a:ext cx="1993392" cy="795528"/>
          </a:xfrm>
          <a:noFill/>
        </p:spPr>
        <p:txBody>
          <a:bodyPr lIns="0" rIns="0" anchor="t" anchorCtr="0">
            <a:noAutofit/>
          </a:bodyPr>
          <a:lstStyle>
            <a:lvl1pPr marL="0" indent="0" algn="ctr">
              <a:spcBef>
                <a:spcPts val="0"/>
              </a:spcBef>
              <a:buNone/>
              <a:defRPr sz="1500"/>
            </a:lvl1pPr>
          </a:lstStyle>
          <a:p>
            <a:pPr lvl="0"/>
            <a:r>
              <a:rPr lang="en-US" dirty="0"/>
              <a:t>Click to edit Master text styles</a:t>
            </a:r>
          </a:p>
        </p:txBody>
      </p:sp>
      <p:sp>
        <p:nvSpPr>
          <p:cNvPr id="40" name="Text Placeholder 51">
            <a:extLst>
              <a:ext uri="{FF2B5EF4-FFF2-40B4-BE49-F238E27FC236}">
                <a16:creationId xmlns:a16="http://schemas.microsoft.com/office/drawing/2014/main" id="{0A39AD48-2F98-C0C9-DE08-CED7EBF816B2}"/>
              </a:ext>
            </a:extLst>
          </p:cNvPr>
          <p:cNvSpPr>
            <a:spLocks noGrp="1"/>
          </p:cNvSpPr>
          <p:nvPr>
            <p:ph type="body" sz="quarter" idx="22"/>
          </p:nvPr>
        </p:nvSpPr>
        <p:spPr>
          <a:xfrm>
            <a:off x="9547629" y="4745736"/>
            <a:ext cx="1993392" cy="795528"/>
          </a:xfrm>
          <a:noFill/>
        </p:spPr>
        <p:txBody>
          <a:bodyPr lIns="0" rIns="0" anchor="t" anchorCtr="0">
            <a:noAutofit/>
          </a:bodyPr>
          <a:lstStyle>
            <a:lvl1pPr marL="0" indent="0" algn="ctr">
              <a:spcBef>
                <a:spcPts val="0"/>
              </a:spcBef>
              <a:buNone/>
              <a:defRPr sz="1500"/>
            </a:lvl1pPr>
          </a:lstStyle>
          <a:p>
            <a:pPr lvl="0"/>
            <a:r>
              <a:rPr lang="en-US" dirty="0"/>
              <a:t>Click to edit Master text styles</a:t>
            </a:r>
          </a:p>
        </p:txBody>
      </p:sp>
      <p:cxnSp>
        <p:nvCxnSpPr>
          <p:cNvPr id="42" name="Straight Connector 41">
            <a:extLst>
              <a:ext uri="{FF2B5EF4-FFF2-40B4-BE49-F238E27FC236}">
                <a16:creationId xmlns:a16="http://schemas.microsoft.com/office/drawing/2014/main" id="{E6BE61D7-B0A3-902B-4F58-727982880EF5}"/>
              </a:ext>
            </a:extLst>
          </p:cNvPr>
          <p:cNvCxnSpPr>
            <a:cxnSpLocks/>
          </p:cNvCxnSpPr>
          <p:nvPr userDrawn="1"/>
        </p:nvCxnSpPr>
        <p:spPr>
          <a:xfrm>
            <a:off x="739398" y="4187681"/>
            <a:ext cx="10812360" cy="0"/>
          </a:xfrm>
          <a:prstGeom prst="line">
            <a:avLst/>
          </a:prstGeom>
          <a:ln w="12700">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3264918"/>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0" name="Title 19">
            <a:extLst>
              <a:ext uri="{FF2B5EF4-FFF2-40B4-BE49-F238E27FC236}">
                <a16:creationId xmlns:a16="http://schemas.microsoft.com/office/drawing/2014/main" id="{C26B5661-F583-FA44-8353-161B862E69B1}"/>
              </a:ext>
            </a:extLst>
          </p:cNvPr>
          <p:cNvSpPr>
            <a:spLocks noGrp="1"/>
          </p:cNvSpPr>
          <p:nvPr>
            <p:ph type="title"/>
          </p:nvPr>
        </p:nvSpPr>
        <p:spPr>
          <a:xfrm>
            <a:off x="3986784" y="1243584"/>
            <a:ext cx="8165592" cy="768096"/>
          </a:xfrm>
        </p:spPr>
        <p:txBody>
          <a:bodyPr>
            <a:noAutofit/>
          </a:bodyPr>
          <a:lstStyle>
            <a:lvl1pPr algn="l">
              <a:lnSpc>
                <a:spcPct val="100000"/>
              </a:lnSpc>
              <a:defRPr/>
            </a:lvl1pPr>
          </a:lstStyle>
          <a:p>
            <a:r>
              <a:rPr lang="en-US" dirty="0"/>
              <a:t>Click to edit Master title style</a:t>
            </a:r>
          </a:p>
        </p:txBody>
      </p:sp>
      <p:sp>
        <p:nvSpPr>
          <p:cNvPr id="11" name="Image 0" descr="preencoded.png">
            <a:extLst>
              <a:ext uri="{FF2B5EF4-FFF2-40B4-BE49-F238E27FC236}">
                <a16:creationId xmlns:a16="http://schemas.microsoft.com/office/drawing/2014/main" id="{CD2D664E-6702-6607-A37E-2E996144917C}"/>
              </a:ext>
            </a:extLst>
          </p:cNvPr>
          <p:cNvSpPr/>
          <p:nvPr userDrawn="1"/>
        </p:nvSpPr>
        <p:spPr>
          <a:xfrm>
            <a:off x="-5568" y="-2784"/>
            <a:ext cx="3443288" cy="6891337"/>
          </a:xfrm>
          <a:custGeom>
            <a:avLst/>
            <a:gdLst>
              <a:gd name="connsiteX0" fmla="*/ 3443288 w 3443288"/>
              <a:gd name="connsiteY0" fmla="*/ 0 h 6891337"/>
              <a:gd name="connsiteX1" fmla="*/ 0 w 3443288"/>
              <a:gd name="connsiteY1" fmla="*/ 0 h 6891337"/>
              <a:gd name="connsiteX2" fmla="*/ 0 w 3443288"/>
              <a:gd name="connsiteY2" fmla="*/ 6891338 h 6891337"/>
              <a:gd name="connsiteX3" fmla="*/ 3443288 w 3443288"/>
              <a:gd name="connsiteY3" fmla="*/ 6891338 h 6891337"/>
              <a:gd name="connsiteX4" fmla="*/ 3443288 w 3443288"/>
              <a:gd name="connsiteY4" fmla="*/ 0 h 6891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3288" h="6891337">
                <a:moveTo>
                  <a:pt x="3443288" y="0"/>
                </a:moveTo>
                <a:lnTo>
                  <a:pt x="0" y="0"/>
                </a:lnTo>
                <a:lnTo>
                  <a:pt x="0" y="6891338"/>
                </a:lnTo>
                <a:lnTo>
                  <a:pt x="3443288" y="6891338"/>
                </a:lnTo>
                <a:lnTo>
                  <a:pt x="3443288" y="0"/>
                </a:lnTo>
                <a:close/>
              </a:path>
            </a:pathLst>
          </a:custGeom>
          <a:solidFill>
            <a:schemeClr val="accent3"/>
          </a:solidFill>
          <a:ln w="4756" cap="flat">
            <a:noFill/>
            <a:prstDash val="solid"/>
            <a:miter/>
          </a:ln>
        </p:spPr>
        <p:txBody>
          <a:bodyPr rtlCol="0" anchor="ctr">
            <a:noAutofit/>
          </a:bodyPr>
          <a:lstStyle/>
          <a:p>
            <a:endParaRPr lang="en-US" dirty="0"/>
          </a:p>
        </p:txBody>
      </p:sp>
      <p:pic>
        <p:nvPicPr>
          <p:cNvPr id="13" name="Image 1" descr="preencoded.png">
            <a:extLst>
              <a:ext uri="{FF2B5EF4-FFF2-40B4-BE49-F238E27FC236}">
                <a16:creationId xmlns:a16="http://schemas.microsoft.com/office/drawing/2014/main" id="{951C5737-DF7E-D671-AC74-9E488335BCA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rcRect/>
          <a:stretch/>
        </p:blipFill>
        <p:spPr>
          <a:xfrm>
            <a:off x="1703311" y="-2784"/>
            <a:ext cx="1734410" cy="5167313"/>
          </a:xfrm>
          <a:prstGeom prst="rect">
            <a:avLst/>
          </a:prstGeom>
        </p:spPr>
      </p:pic>
      <p:sp>
        <p:nvSpPr>
          <p:cNvPr id="39" name="Freeform: Shape 38">
            <a:extLst>
              <a:ext uri="{FF2B5EF4-FFF2-40B4-BE49-F238E27FC236}">
                <a16:creationId xmlns:a16="http://schemas.microsoft.com/office/drawing/2014/main" id="{F232A1E1-DD38-15EA-6CA1-A84950EC43F0}"/>
              </a:ext>
            </a:extLst>
          </p:cNvPr>
          <p:cNvSpPr/>
          <p:nvPr/>
        </p:nvSpPr>
        <p:spPr>
          <a:xfrm>
            <a:off x="1721621" y="-2784"/>
            <a:ext cx="1716115" cy="1720853"/>
          </a:xfrm>
          <a:custGeom>
            <a:avLst/>
            <a:gdLst>
              <a:gd name="connsiteX0" fmla="*/ 93358 w 1716115"/>
              <a:gd name="connsiteY0" fmla="*/ 0 h 1720853"/>
              <a:gd name="connsiteX1" fmla="*/ 110348 w 1716115"/>
              <a:gd name="connsiteY1" fmla="*/ 0 h 1720853"/>
              <a:gd name="connsiteX2" fmla="*/ 1716029 w 1716115"/>
              <a:gd name="connsiteY2" fmla="*/ 1610112 h 1720853"/>
              <a:gd name="connsiteX3" fmla="*/ 1716029 w 1716115"/>
              <a:gd name="connsiteY3" fmla="*/ 1627151 h 1720853"/>
              <a:gd name="connsiteX4" fmla="*/ 1716115 w 1716115"/>
              <a:gd name="connsiteY4" fmla="*/ 1627237 h 1720853"/>
              <a:gd name="connsiteX5" fmla="*/ 93358 w 1716115"/>
              <a:gd name="connsiteY5" fmla="*/ 0 h 1720853"/>
              <a:gd name="connsiteX6" fmla="*/ 0 w 1716115"/>
              <a:gd name="connsiteY6" fmla="*/ 0 h 1720853"/>
              <a:gd name="connsiteX7" fmla="*/ 16989 w 1716115"/>
              <a:gd name="connsiteY7" fmla="*/ 0 h 1720853"/>
              <a:gd name="connsiteX8" fmla="*/ 1716114 w 1716115"/>
              <a:gd name="connsiteY8" fmla="*/ 1703814 h 1720853"/>
              <a:gd name="connsiteX9" fmla="*/ 1716114 w 1716115"/>
              <a:gd name="connsiteY9" fmla="*/ 1720853 h 1720853"/>
              <a:gd name="connsiteX10" fmla="*/ 0 w 1716115"/>
              <a:gd name="connsiteY10" fmla="*/ 0 h 1720853"/>
              <a:gd name="connsiteX11" fmla="*/ 186798 w 1716115"/>
              <a:gd name="connsiteY11" fmla="*/ 0 h 1720853"/>
              <a:gd name="connsiteX12" fmla="*/ 203788 w 1716115"/>
              <a:gd name="connsiteY12" fmla="*/ 0 h 1720853"/>
              <a:gd name="connsiteX13" fmla="*/ 1716109 w 1716115"/>
              <a:gd name="connsiteY13" fmla="*/ 1516501 h 1720853"/>
              <a:gd name="connsiteX14" fmla="*/ 1716109 w 1716115"/>
              <a:gd name="connsiteY14" fmla="*/ 1533535 h 1720853"/>
              <a:gd name="connsiteX15" fmla="*/ 186798 w 1716115"/>
              <a:gd name="connsiteY15" fmla="*/ 0 h 1720853"/>
              <a:gd name="connsiteX16" fmla="*/ 280155 w 1716115"/>
              <a:gd name="connsiteY16" fmla="*/ 0 h 1720853"/>
              <a:gd name="connsiteX17" fmla="*/ 297145 w 1716115"/>
              <a:gd name="connsiteY17" fmla="*/ 0 h 1720853"/>
              <a:gd name="connsiteX18" fmla="*/ 1716114 w 1716115"/>
              <a:gd name="connsiteY18" fmla="*/ 1422885 h 1720853"/>
              <a:gd name="connsiteX19" fmla="*/ 1716114 w 1716115"/>
              <a:gd name="connsiteY19" fmla="*/ 1439924 h 1720853"/>
              <a:gd name="connsiteX20" fmla="*/ 280155 w 1716115"/>
              <a:gd name="connsiteY20" fmla="*/ 0 h 1720853"/>
              <a:gd name="connsiteX21" fmla="*/ 373512 w 1716115"/>
              <a:gd name="connsiteY21" fmla="*/ 0 h 1720853"/>
              <a:gd name="connsiteX22" fmla="*/ 390502 w 1716115"/>
              <a:gd name="connsiteY22" fmla="*/ 0 h 1720853"/>
              <a:gd name="connsiteX23" fmla="*/ 1716029 w 1716115"/>
              <a:gd name="connsiteY23" fmla="*/ 1329184 h 1720853"/>
              <a:gd name="connsiteX24" fmla="*/ 1716029 w 1716115"/>
              <a:gd name="connsiteY24" fmla="*/ 1346223 h 1720853"/>
              <a:gd name="connsiteX25" fmla="*/ 1716114 w 1716115"/>
              <a:gd name="connsiteY25" fmla="*/ 1346308 h 1720853"/>
              <a:gd name="connsiteX26" fmla="*/ 373512 w 1716115"/>
              <a:gd name="connsiteY26" fmla="*/ 0 h 1720853"/>
              <a:gd name="connsiteX27" fmla="*/ 466953 w 1716115"/>
              <a:gd name="connsiteY27" fmla="*/ 0 h 1720853"/>
              <a:gd name="connsiteX28" fmla="*/ 483944 w 1716115"/>
              <a:gd name="connsiteY28" fmla="*/ 0 h 1720853"/>
              <a:gd name="connsiteX29" fmla="*/ 1716110 w 1716115"/>
              <a:gd name="connsiteY29" fmla="*/ 1235573 h 1720853"/>
              <a:gd name="connsiteX30" fmla="*/ 1716110 w 1716115"/>
              <a:gd name="connsiteY30" fmla="*/ 1252607 h 1720853"/>
              <a:gd name="connsiteX31" fmla="*/ 466953 w 1716115"/>
              <a:gd name="connsiteY31" fmla="*/ 0 h 1720853"/>
              <a:gd name="connsiteX32" fmla="*/ 560310 w 1716115"/>
              <a:gd name="connsiteY32" fmla="*/ 0 h 1720853"/>
              <a:gd name="connsiteX33" fmla="*/ 577297 w 1716115"/>
              <a:gd name="connsiteY33" fmla="*/ 0 h 1720853"/>
              <a:gd name="connsiteX34" fmla="*/ 1716109 w 1716115"/>
              <a:gd name="connsiteY34" fmla="*/ 1141957 h 1720853"/>
              <a:gd name="connsiteX35" fmla="*/ 1716109 w 1716115"/>
              <a:gd name="connsiteY35" fmla="*/ 1158991 h 1720853"/>
              <a:gd name="connsiteX36" fmla="*/ 560310 w 1716115"/>
              <a:gd name="connsiteY36" fmla="*/ 0 h 1720853"/>
              <a:gd name="connsiteX37" fmla="*/ 653668 w 1716115"/>
              <a:gd name="connsiteY37" fmla="*/ 0 h 1720853"/>
              <a:gd name="connsiteX38" fmla="*/ 670655 w 1716115"/>
              <a:gd name="connsiteY38" fmla="*/ 0 h 1720853"/>
              <a:gd name="connsiteX39" fmla="*/ 1716029 w 1716115"/>
              <a:gd name="connsiteY39" fmla="*/ 1048255 h 1720853"/>
              <a:gd name="connsiteX40" fmla="*/ 1716029 w 1716115"/>
              <a:gd name="connsiteY40" fmla="*/ 1065294 h 1720853"/>
              <a:gd name="connsiteX41" fmla="*/ 1716114 w 1716115"/>
              <a:gd name="connsiteY41" fmla="*/ 1065380 h 1720853"/>
              <a:gd name="connsiteX42" fmla="*/ 653668 w 1716115"/>
              <a:gd name="connsiteY42" fmla="*/ 0 h 1720853"/>
              <a:gd name="connsiteX43" fmla="*/ 747112 w 1716115"/>
              <a:gd name="connsiteY43" fmla="*/ 0 h 1720853"/>
              <a:gd name="connsiteX44" fmla="*/ 764104 w 1716115"/>
              <a:gd name="connsiteY44" fmla="*/ 0 h 1720853"/>
              <a:gd name="connsiteX45" fmla="*/ 1716115 w 1716115"/>
              <a:gd name="connsiteY45" fmla="*/ 954644 h 1720853"/>
              <a:gd name="connsiteX46" fmla="*/ 1716115 w 1716115"/>
              <a:gd name="connsiteY46" fmla="*/ 971678 h 1720853"/>
              <a:gd name="connsiteX47" fmla="*/ 747112 w 1716115"/>
              <a:gd name="connsiteY47" fmla="*/ 0 h 1720853"/>
              <a:gd name="connsiteX48" fmla="*/ 840465 w 1716115"/>
              <a:gd name="connsiteY48" fmla="*/ 0 h 1720853"/>
              <a:gd name="connsiteX49" fmla="*/ 857452 w 1716115"/>
              <a:gd name="connsiteY49" fmla="*/ 0 h 1720853"/>
              <a:gd name="connsiteX50" fmla="*/ 1716109 w 1716115"/>
              <a:gd name="connsiteY50" fmla="*/ 861028 h 1720853"/>
              <a:gd name="connsiteX51" fmla="*/ 1716109 w 1716115"/>
              <a:gd name="connsiteY51" fmla="*/ 878062 h 1720853"/>
              <a:gd name="connsiteX52" fmla="*/ 840465 w 1716115"/>
              <a:gd name="connsiteY52" fmla="*/ 0 h 1720853"/>
              <a:gd name="connsiteX53" fmla="*/ 933823 w 1716115"/>
              <a:gd name="connsiteY53" fmla="*/ 0 h 1720853"/>
              <a:gd name="connsiteX54" fmla="*/ 950810 w 1716115"/>
              <a:gd name="connsiteY54" fmla="*/ 0 h 1720853"/>
              <a:gd name="connsiteX55" fmla="*/ 1716114 w 1716115"/>
              <a:gd name="connsiteY55" fmla="*/ 767327 h 1720853"/>
              <a:gd name="connsiteX56" fmla="*/ 1716114 w 1716115"/>
              <a:gd name="connsiteY56" fmla="*/ 784366 h 1720853"/>
              <a:gd name="connsiteX57" fmla="*/ 1716114 w 1716115"/>
              <a:gd name="connsiteY57" fmla="*/ 784451 h 1720853"/>
              <a:gd name="connsiteX58" fmla="*/ 933823 w 1716115"/>
              <a:gd name="connsiteY58" fmla="*/ 0 h 1720853"/>
              <a:gd name="connsiteX59" fmla="*/ 1027262 w 1716115"/>
              <a:gd name="connsiteY59" fmla="*/ 0 h 1720853"/>
              <a:gd name="connsiteX60" fmla="*/ 1044254 w 1716115"/>
              <a:gd name="connsiteY60" fmla="*/ 0 h 1720853"/>
              <a:gd name="connsiteX61" fmla="*/ 1716110 w 1716115"/>
              <a:gd name="connsiteY61" fmla="*/ 673716 h 1720853"/>
              <a:gd name="connsiteX62" fmla="*/ 1716110 w 1716115"/>
              <a:gd name="connsiteY62" fmla="*/ 690750 h 1720853"/>
              <a:gd name="connsiteX63" fmla="*/ 1027262 w 1716115"/>
              <a:gd name="connsiteY63" fmla="*/ 0 h 1720853"/>
              <a:gd name="connsiteX64" fmla="*/ 1120625 w 1716115"/>
              <a:gd name="connsiteY64" fmla="*/ 0 h 1720853"/>
              <a:gd name="connsiteX65" fmla="*/ 1137612 w 1716115"/>
              <a:gd name="connsiteY65" fmla="*/ 0 h 1720853"/>
              <a:gd name="connsiteX66" fmla="*/ 1716115 w 1716115"/>
              <a:gd name="connsiteY66" fmla="*/ 580100 h 1720853"/>
              <a:gd name="connsiteX67" fmla="*/ 1716115 w 1716115"/>
              <a:gd name="connsiteY67" fmla="*/ 597134 h 1720853"/>
              <a:gd name="connsiteX68" fmla="*/ 1120625 w 1716115"/>
              <a:gd name="connsiteY68" fmla="*/ 0 h 1720853"/>
              <a:gd name="connsiteX69" fmla="*/ 1213978 w 1716115"/>
              <a:gd name="connsiteY69" fmla="*/ 0 h 1720853"/>
              <a:gd name="connsiteX70" fmla="*/ 1230965 w 1716115"/>
              <a:gd name="connsiteY70" fmla="*/ 0 h 1720853"/>
              <a:gd name="connsiteX71" fmla="*/ 1716109 w 1716115"/>
              <a:gd name="connsiteY71" fmla="*/ 486398 h 1720853"/>
              <a:gd name="connsiteX72" fmla="*/ 1716109 w 1716115"/>
              <a:gd name="connsiteY72" fmla="*/ 503437 h 1720853"/>
              <a:gd name="connsiteX73" fmla="*/ 1716109 w 1716115"/>
              <a:gd name="connsiteY73" fmla="*/ 503523 h 1720853"/>
              <a:gd name="connsiteX74" fmla="*/ 1213978 w 1716115"/>
              <a:gd name="connsiteY74" fmla="*/ 0 h 1720853"/>
              <a:gd name="connsiteX75" fmla="*/ 1307422 w 1716115"/>
              <a:gd name="connsiteY75" fmla="*/ 0 h 1720853"/>
              <a:gd name="connsiteX76" fmla="*/ 1324414 w 1716115"/>
              <a:gd name="connsiteY76" fmla="*/ 0 h 1720853"/>
              <a:gd name="connsiteX77" fmla="*/ 1716115 w 1716115"/>
              <a:gd name="connsiteY77" fmla="*/ 392784 h 1720853"/>
              <a:gd name="connsiteX78" fmla="*/ 1716115 w 1716115"/>
              <a:gd name="connsiteY78" fmla="*/ 409821 h 1720853"/>
              <a:gd name="connsiteX79" fmla="*/ 1307422 w 1716115"/>
              <a:gd name="connsiteY79" fmla="*/ 0 h 1720853"/>
              <a:gd name="connsiteX80" fmla="*/ 1400775 w 1716115"/>
              <a:gd name="connsiteY80" fmla="*/ 0 h 1720853"/>
              <a:gd name="connsiteX81" fmla="*/ 1417762 w 1716115"/>
              <a:gd name="connsiteY81" fmla="*/ 0 h 1720853"/>
              <a:gd name="connsiteX82" fmla="*/ 1716109 w 1716115"/>
              <a:gd name="connsiteY82" fmla="*/ 299170 h 1720853"/>
              <a:gd name="connsiteX83" fmla="*/ 1716109 w 1716115"/>
              <a:gd name="connsiteY83" fmla="*/ 316207 h 1720853"/>
              <a:gd name="connsiteX84" fmla="*/ 1400775 w 1716115"/>
              <a:gd name="connsiteY84" fmla="*/ 0 h 1720853"/>
              <a:gd name="connsiteX85" fmla="*/ 1494133 w 1716115"/>
              <a:gd name="connsiteY85" fmla="*/ 0 h 1720853"/>
              <a:gd name="connsiteX86" fmla="*/ 1511120 w 1716115"/>
              <a:gd name="connsiteY86" fmla="*/ 0 h 1720853"/>
              <a:gd name="connsiteX87" fmla="*/ 1716109 w 1716115"/>
              <a:gd name="connsiteY87" fmla="*/ 205556 h 1720853"/>
              <a:gd name="connsiteX88" fmla="*/ 1716109 w 1716115"/>
              <a:gd name="connsiteY88" fmla="*/ 222592 h 1720853"/>
              <a:gd name="connsiteX89" fmla="*/ 1494133 w 1716115"/>
              <a:gd name="connsiteY89" fmla="*/ 0 h 1720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716115" h="1720853">
                <a:moveTo>
                  <a:pt x="93358" y="0"/>
                </a:moveTo>
                <a:lnTo>
                  <a:pt x="110348" y="0"/>
                </a:lnTo>
                <a:cubicBezTo>
                  <a:pt x="110348" y="887874"/>
                  <a:pt x="830686" y="1610112"/>
                  <a:pt x="1716029" y="1610112"/>
                </a:cubicBezTo>
                <a:lnTo>
                  <a:pt x="1716029" y="1627151"/>
                </a:lnTo>
                <a:lnTo>
                  <a:pt x="1716115" y="1627237"/>
                </a:lnTo>
                <a:cubicBezTo>
                  <a:pt x="821334" y="1627237"/>
                  <a:pt x="93358" y="897252"/>
                  <a:pt x="93358" y="0"/>
                </a:cubicBezTo>
                <a:close/>
                <a:moveTo>
                  <a:pt x="0" y="0"/>
                </a:moveTo>
                <a:lnTo>
                  <a:pt x="16989" y="0"/>
                </a:lnTo>
                <a:cubicBezTo>
                  <a:pt x="16989" y="939499"/>
                  <a:pt x="779202" y="1703814"/>
                  <a:pt x="1716114" y="1703814"/>
                </a:cubicBezTo>
                <a:lnTo>
                  <a:pt x="1716114" y="1720853"/>
                </a:lnTo>
                <a:cubicBezTo>
                  <a:pt x="769850" y="1720853"/>
                  <a:pt x="0" y="948877"/>
                  <a:pt x="0" y="0"/>
                </a:cubicBezTo>
                <a:close/>
                <a:moveTo>
                  <a:pt x="186798" y="0"/>
                </a:moveTo>
                <a:lnTo>
                  <a:pt x="203788" y="0"/>
                </a:lnTo>
                <a:cubicBezTo>
                  <a:pt x="203788" y="836248"/>
                  <a:pt x="882254" y="1516501"/>
                  <a:pt x="1716109" y="1516501"/>
                </a:cubicBezTo>
                <a:lnTo>
                  <a:pt x="1716109" y="1533535"/>
                </a:lnTo>
                <a:cubicBezTo>
                  <a:pt x="872812" y="1533535"/>
                  <a:pt x="186798" y="845626"/>
                  <a:pt x="186798" y="0"/>
                </a:cubicBezTo>
                <a:close/>
                <a:moveTo>
                  <a:pt x="280155" y="0"/>
                </a:moveTo>
                <a:lnTo>
                  <a:pt x="297145" y="0"/>
                </a:lnTo>
                <a:cubicBezTo>
                  <a:pt x="297145" y="784537"/>
                  <a:pt x="933652" y="1422885"/>
                  <a:pt x="1716114" y="1422885"/>
                </a:cubicBezTo>
                <a:lnTo>
                  <a:pt x="1716114" y="1439924"/>
                </a:lnTo>
                <a:cubicBezTo>
                  <a:pt x="924300" y="1439924"/>
                  <a:pt x="280155" y="794001"/>
                  <a:pt x="280155" y="0"/>
                </a:cubicBezTo>
                <a:close/>
                <a:moveTo>
                  <a:pt x="373512" y="0"/>
                </a:moveTo>
                <a:lnTo>
                  <a:pt x="390502" y="0"/>
                </a:lnTo>
                <a:cubicBezTo>
                  <a:pt x="390502" y="732911"/>
                  <a:pt x="985135" y="1329184"/>
                  <a:pt x="1716029" y="1329184"/>
                </a:cubicBezTo>
                <a:lnTo>
                  <a:pt x="1716029" y="1346223"/>
                </a:lnTo>
                <a:lnTo>
                  <a:pt x="1716114" y="1346308"/>
                </a:lnTo>
                <a:cubicBezTo>
                  <a:pt x="975783" y="1346308"/>
                  <a:pt x="373512" y="742375"/>
                  <a:pt x="373512" y="0"/>
                </a:cubicBezTo>
                <a:close/>
                <a:moveTo>
                  <a:pt x="466953" y="0"/>
                </a:moveTo>
                <a:lnTo>
                  <a:pt x="483944" y="0"/>
                </a:lnTo>
                <a:cubicBezTo>
                  <a:pt x="483944" y="681286"/>
                  <a:pt x="1036704" y="1235573"/>
                  <a:pt x="1716110" y="1235573"/>
                </a:cubicBezTo>
                <a:lnTo>
                  <a:pt x="1716110" y="1252607"/>
                </a:lnTo>
                <a:cubicBezTo>
                  <a:pt x="1027347" y="1252607"/>
                  <a:pt x="466953" y="690664"/>
                  <a:pt x="466953" y="0"/>
                </a:cubicBezTo>
                <a:close/>
                <a:moveTo>
                  <a:pt x="560310" y="0"/>
                </a:moveTo>
                <a:lnTo>
                  <a:pt x="577297" y="0"/>
                </a:lnTo>
                <a:cubicBezTo>
                  <a:pt x="577297" y="629660"/>
                  <a:pt x="1088188" y="1141957"/>
                  <a:pt x="1716109" y="1141957"/>
                </a:cubicBezTo>
                <a:lnTo>
                  <a:pt x="1716109" y="1158991"/>
                </a:lnTo>
                <a:cubicBezTo>
                  <a:pt x="1078835" y="1158991"/>
                  <a:pt x="560310" y="639038"/>
                  <a:pt x="560310" y="0"/>
                </a:cubicBezTo>
                <a:close/>
                <a:moveTo>
                  <a:pt x="653668" y="0"/>
                </a:moveTo>
                <a:lnTo>
                  <a:pt x="670655" y="0"/>
                </a:lnTo>
                <a:cubicBezTo>
                  <a:pt x="670655" y="578035"/>
                  <a:pt x="1139586" y="1048255"/>
                  <a:pt x="1716029" y="1048255"/>
                </a:cubicBezTo>
                <a:lnTo>
                  <a:pt x="1716029" y="1065294"/>
                </a:lnTo>
                <a:lnTo>
                  <a:pt x="1716114" y="1065380"/>
                </a:lnTo>
                <a:cubicBezTo>
                  <a:pt x="1130319" y="1065380"/>
                  <a:pt x="653668" y="587499"/>
                  <a:pt x="653668" y="0"/>
                </a:cubicBezTo>
                <a:close/>
                <a:moveTo>
                  <a:pt x="747112" y="0"/>
                </a:moveTo>
                <a:lnTo>
                  <a:pt x="764104" y="0"/>
                </a:lnTo>
                <a:cubicBezTo>
                  <a:pt x="764104" y="526409"/>
                  <a:pt x="1191155" y="954644"/>
                  <a:pt x="1716115" y="954644"/>
                </a:cubicBezTo>
                <a:lnTo>
                  <a:pt x="1716115" y="971678"/>
                </a:lnTo>
                <a:cubicBezTo>
                  <a:pt x="1181802" y="971678"/>
                  <a:pt x="747112" y="535787"/>
                  <a:pt x="747112" y="0"/>
                </a:cubicBezTo>
                <a:close/>
                <a:moveTo>
                  <a:pt x="840465" y="0"/>
                </a:moveTo>
                <a:lnTo>
                  <a:pt x="857452" y="0"/>
                </a:lnTo>
                <a:cubicBezTo>
                  <a:pt x="857452" y="474783"/>
                  <a:pt x="1242638" y="861028"/>
                  <a:pt x="1716109" y="861028"/>
                </a:cubicBezTo>
                <a:lnTo>
                  <a:pt x="1716109" y="878062"/>
                </a:lnTo>
                <a:cubicBezTo>
                  <a:pt x="1233281" y="878062"/>
                  <a:pt x="840465" y="484162"/>
                  <a:pt x="840465" y="0"/>
                </a:cubicBezTo>
                <a:close/>
                <a:moveTo>
                  <a:pt x="933823" y="0"/>
                </a:moveTo>
                <a:lnTo>
                  <a:pt x="950810" y="0"/>
                </a:lnTo>
                <a:cubicBezTo>
                  <a:pt x="950810" y="423157"/>
                  <a:pt x="1294121" y="767327"/>
                  <a:pt x="1716114" y="767327"/>
                </a:cubicBezTo>
                <a:lnTo>
                  <a:pt x="1716114" y="784366"/>
                </a:lnTo>
                <a:lnTo>
                  <a:pt x="1716114" y="784451"/>
                </a:lnTo>
                <a:cubicBezTo>
                  <a:pt x="1284769" y="784451"/>
                  <a:pt x="933823" y="432536"/>
                  <a:pt x="933823" y="0"/>
                </a:cubicBezTo>
                <a:close/>
                <a:moveTo>
                  <a:pt x="1027262" y="0"/>
                </a:moveTo>
                <a:lnTo>
                  <a:pt x="1044254" y="0"/>
                </a:lnTo>
                <a:cubicBezTo>
                  <a:pt x="1044254" y="371532"/>
                  <a:pt x="1345685" y="673716"/>
                  <a:pt x="1716110" y="673716"/>
                </a:cubicBezTo>
                <a:lnTo>
                  <a:pt x="1716110" y="690750"/>
                </a:lnTo>
                <a:cubicBezTo>
                  <a:pt x="1336248" y="690750"/>
                  <a:pt x="1027262" y="380824"/>
                  <a:pt x="1027262" y="0"/>
                </a:cubicBezTo>
                <a:close/>
                <a:moveTo>
                  <a:pt x="1120625" y="0"/>
                </a:moveTo>
                <a:lnTo>
                  <a:pt x="1137612" y="0"/>
                </a:lnTo>
                <a:cubicBezTo>
                  <a:pt x="1137612" y="319820"/>
                  <a:pt x="1397088" y="580100"/>
                  <a:pt x="1716115" y="580100"/>
                </a:cubicBezTo>
                <a:lnTo>
                  <a:pt x="1716115" y="597134"/>
                </a:lnTo>
                <a:cubicBezTo>
                  <a:pt x="1387736" y="597134"/>
                  <a:pt x="1120625" y="329285"/>
                  <a:pt x="1120625" y="0"/>
                </a:cubicBezTo>
                <a:close/>
                <a:moveTo>
                  <a:pt x="1213978" y="0"/>
                </a:moveTo>
                <a:lnTo>
                  <a:pt x="1230965" y="0"/>
                </a:lnTo>
                <a:cubicBezTo>
                  <a:pt x="1230965" y="268195"/>
                  <a:pt x="1448571" y="486398"/>
                  <a:pt x="1716109" y="486398"/>
                </a:cubicBezTo>
                <a:lnTo>
                  <a:pt x="1716109" y="503437"/>
                </a:lnTo>
                <a:lnTo>
                  <a:pt x="1716109" y="503523"/>
                </a:lnTo>
                <a:cubicBezTo>
                  <a:pt x="1439214" y="503523"/>
                  <a:pt x="1213978" y="277659"/>
                  <a:pt x="1213978" y="0"/>
                </a:cubicBezTo>
                <a:close/>
                <a:moveTo>
                  <a:pt x="1307422" y="0"/>
                </a:moveTo>
                <a:lnTo>
                  <a:pt x="1324414" y="0"/>
                </a:lnTo>
                <a:cubicBezTo>
                  <a:pt x="1324414" y="216569"/>
                  <a:pt x="1500141" y="392784"/>
                  <a:pt x="1716115" y="392784"/>
                </a:cubicBezTo>
                <a:lnTo>
                  <a:pt x="1716115" y="409821"/>
                </a:lnTo>
                <a:cubicBezTo>
                  <a:pt x="1490703" y="409821"/>
                  <a:pt x="1307422" y="225948"/>
                  <a:pt x="1307422" y="0"/>
                </a:cubicBezTo>
                <a:close/>
                <a:moveTo>
                  <a:pt x="1400775" y="0"/>
                </a:moveTo>
                <a:lnTo>
                  <a:pt x="1417762" y="0"/>
                </a:lnTo>
                <a:cubicBezTo>
                  <a:pt x="1417762" y="164944"/>
                  <a:pt x="1551619" y="299170"/>
                  <a:pt x="1716109" y="299170"/>
                </a:cubicBezTo>
                <a:lnTo>
                  <a:pt x="1716109" y="316207"/>
                </a:lnTo>
                <a:cubicBezTo>
                  <a:pt x="1542266" y="316207"/>
                  <a:pt x="1400775" y="174322"/>
                  <a:pt x="1400775" y="0"/>
                </a:cubicBezTo>
                <a:close/>
                <a:moveTo>
                  <a:pt x="1494133" y="0"/>
                </a:moveTo>
                <a:lnTo>
                  <a:pt x="1511120" y="0"/>
                </a:lnTo>
                <a:cubicBezTo>
                  <a:pt x="1511120" y="113318"/>
                  <a:pt x="1603017" y="205556"/>
                  <a:pt x="1716109" y="205556"/>
                </a:cubicBezTo>
                <a:lnTo>
                  <a:pt x="1716109" y="222592"/>
                </a:lnTo>
                <a:cubicBezTo>
                  <a:pt x="1593750" y="222592"/>
                  <a:pt x="1494133" y="122783"/>
                  <a:pt x="1494133" y="0"/>
                </a:cubicBezTo>
                <a:close/>
              </a:path>
            </a:pathLst>
          </a:custGeom>
          <a:solidFill>
            <a:schemeClr val="bg1">
              <a:alpha val="99000"/>
            </a:schemeClr>
          </a:solidFill>
          <a:ln w="4723" cap="flat">
            <a:noFill/>
            <a:prstDash val="solid"/>
            <a:miter/>
          </a:ln>
        </p:spPr>
        <p:txBody>
          <a:bodyPr rtlCol="0" anchor="ctr"/>
          <a:lstStyle/>
          <a:p>
            <a:endParaRPr lang="en-US" dirty="0"/>
          </a:p>
        </p:txBody>
      </p:sp>
      <p:sp>
        <p:nvSpPr>
          <p:cNvPr id="17" name="Image 5" descr="preencoded.png">
            <a:extLst>
              <a:ext uri="{FF2B5EF4-FFF2-40B4-BE49-F238E27FC236}">
                <a16:creationId xmlns:a16="http://schemas.microsoft.com/office/drawing/2014/main" id="{B9036D42-A06F-E6EE-BB91-8BAF045198BE}"/>
              </a:ext>
            </a:extLst>
          </p:cNvPr>
          <p:cNvSpPr/>
          <p:nvPr userDrawn="1"/>
        </p:nvSpPr>
        <p:spPr>
          <a:xfrm>
            <a:off x="-5568" y="3440504"/>
            <a:ext cx="3443288" cy="3448050"/>
          </a:xfrm>
          <a:custGeom>
            <a:avLst/>
            <a:gdLst>
              <a:gd name="connsiteX0" fmla="*/ 1721644 w 3443288"/>
              <a:gd name="connsiteY0" fmla="*/ 3448051 h 3448050"/>
              <a:gd name="connsiteX1" fmla="*/ 3443288 w 3443288"/>
              <a:gd name="connsiteY1" fmla="*/ 1724025 h 3448050"/>
              <a:gd name="connsiteX2" fmla="*/ 1721644 w 3443288"/>
              <a:gd name="connsiteY2" fmla="*/ 0 h 3448050"/>
              <a:gd name="connsiteX3" fmla="*/ 0 w 3443288"/>
              <a:gd name="connsiteY3" fmla="*/ 1724025 h 3448050"/>
              <a:gd name="connsiteX4" fmla="*/ 1721644 w 3443288"/>
              <a:gd name="connsiteY4" fmla="*/ 3448051 h 3448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3288" h="3448050">
                <a:moveTo>
                  <a:pt x="1721644" y="3448051"/>
                </a:moveTo>
                <a:cubicBezTo>
                  <a:pt x="2672482" y="3448051"/>
                  <a:pt x="3443288" y="2676178"/>
                  <a:pt x="3443288" y="1724025"/>
                </a:cubicBezTo>
                <a:cubicBezTo>
                  <a:pt x="3443288" y="771873"/>
                  <a:pt x="2672482" y="0"/>
                  <a:pt x="1721644" y="0"/>
                </a:cubicBezTo>
                <a:cubicBezTo>
                  <a:pt x="770806" y="0"/>
                  <a:pt x="0" y="771873"/>
                  <a:pt x="0" y="1724025"/>
                </a:cubicBezTo>
                <a:cubicBezTo>
                  <a:pt x="0" y="2676178"/>
                  <a:pt x="770806" y="3448051"/>
                  <a:pt x="1721644" y="3448051"/>
                </a:cubicBezTo>
                <a:close/>
              </a:path>
            </a:pathLst>
          </a:custGeom>
          <a:solidFill>
            <a:schemeClr val="accent6"/>
          </a:solidFill>
          <a:ln w="4756" cap="flat">
            <a:noFill/>
            <a:prstDash val="solid"/>
            <a:miter/>
          </a:ln>
        </p:spPr>
        <p:txBody>
          <a:bodyPr rtlCol="0" anchor="ctr">
            <a:noAutofit/>
          </a:bodyPr>
          <a:lstStyle/>
          <a:p>
            <a:endParaRPr lang="en-US" dirty="0"/>
          </a:p>
        </p:txBody>
      </p:sp>
      <p:pic>
        <p:nvPicPr>
          <p:cNvPr id="19" name="Image 6" descr="preencoded.png">
            <a:extLst>
              <a:ext uri="{FF2B5EF4-FFF2-40B4-BE49-F238E27FC236}">
                <a16:creationId xmlns:a16="http://schemas.microsoft.com/office/drawing/2014/main" id="{86E0540C-3355-A50D-AC61-047B54B70C64}"/>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xmlns="" r:embed="rId5"/>
              </a:ext>
            </a:extLst>
          </a:blip>
          <a:srcRect/>
          <a:stretch/>
        </p:blipFill>
        <p:spPr>
          <a:xfrm>
            <a:off x="1718457" y="3440504"/>
            <a:ext cx="1719263" cy="1724025"/>
          </a:xfrm>
          <a:prstGeom prst="rect">
            <a:avLst/>
          </a:prstGeom>
        </p:spPr>
      </p:pic>
      <p:sp>
        <p:nvSpPr>
          <p:cNvPr id="3" name="Text Placeholder 2"/>
          <p:cNvSpPr>
            <a:spLocks noGrp="1"/>
          </p:cNvSpPr>
          <p:nvPr>
            <p:ph type="body" idx="1"/>
          </p:nvPr>
        </p:nvSpPr>
        <p:spPr>
          <a:xfrm>
            <a:off x="3977640" y="2330704"/>
            <a:ext cx="3822192" cy="411480"/>
          </a:xfrm>
        </p:spPr>
        <p:txBody>
          <a:bodyPr anchor="t">
            <a:noAutofit/>
          </a:bodyPr>
          <a:lstStyle>
            <a:lvl1pPr marL="0" indent="0">
              <a:spcBef>
                <a:spcPts val="0"/>
              </a:spcBef>
              <a:buNone/>
              <a:defRPr sz="1800" b="1" cap="all" baseline="0">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685032" y="2877312"/>
            <a:ext cx="3741928" cy="3684588"/>
          </a:xfrm>
        </p:spPr>
        <p:txBody>
          <a:bodyPr lIns="45720" rIns="45720" bIns="45720">
            <a:noAutofit/>
          </a:bodyPr>
          <a:lstStyle>
            <a:lvl1pPr>
              <a:defRPr sz="1500"/>
            </a:lvl1pPr>
            <a:lvl2pPr>
              <a:defRPr sz="13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8046720" y="2330704"/>
            <a:ext cx="3822192" cy="411480"/>
          </a:xfrm>
        </p:spPr>
        <p:txBody>
          <a:bodyPr anchor="t">
            <a:noAutofit/>
          </a:bodyPr>
          <a:lstStyle>
            <a:lvl1pPr marL="0" indent="0">
              <a:spcBef>
                <a:spcPts val="0"/>
              </a:spcBef>
              <a:buNone/>
              <a:defRPr sz="1800" b="1" cap="all" baseline="0">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7754112" y="2877312"/>
            <a:ext cx="3741928" cy="3684588"/>
          </a:xfrm>
        </p:spPr>
        <p:txBody>
          <a:bodyPr lIns="45720" rIns="45720" bIns="45720">
            <a:noAutofit/>
          </a:bodyPr>
          <a:lstStyle>
            <a:lvl1pPr>
              <a:defRPr sz="1500"/>
            </a:lvl1pPr>
            <a:lvl2pPr>
              <a:defRPr sz="13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8"/>
          <p:cNvSpPr>
            <a:spLocks noGrp="1"/>
          </p:cNvSpPr>
          <p:nvPr>
            <p:ph type="sldNum" sz="quarter" idx="12"/>
          </p:nvPr>
        </p:nvSpPr>
        <p:spPr/>
        <p:txBody>
          <a:bodyPr>
            <a:noAutofit/>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691930882"/>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445A0A-815D-3414-088B-C041E6742DBE}"/>
              </a:ext>
            </a:extLst>
          </p:cNvPr>
          <p:cNvSpPr>
            <a:spLocks noGrp="1"/>
          </p:cNvSpPr>
          <p:nvPr>
            <p:ph type="title"/>
          </p:nvPr>
        </p:nvSpPr>
        <p:spPr>
          <a:xfrm>
            <a:off x="758952" y="1234440"/>
            <a:ext cx="10671048" cy="768096"/>
          </a:xfrm>
        </p:spPr>
        <p:txBody>
          <a:bodyPr>
            <a:noAutofit/>
          </a:bodyPr>
          <a:lstStyle>
            <a:lvl1pPr>
              <a:lnSpc>
                <a:spcPct val="100000"/>
              </a:lnSpc>
              <a:defRPr/>
            </a:lvl1pPr>
          </a:lstStyle>
          <a:p>
            <a:r>
              <a:rPr lang="en-US" dirty="0"/>
              <a:t>Click to edit Master title style</a:t>
            </a:r>
          </a:p>
        </p:txBody>
      </p:sp>
      <p:sp>
        <p:nvSpPr>
          <p:cNvPr id="4" name="Footer Placeholder 3">
            <a:extLst>
              <a:ext uri="{FF2B5EF4-FFF2-40B4-BE49-F238E27FC236}">
                <a16:creationId xmlns:a16="http://schemas.microsoft.com/office/drawing/2014/main" id="{317B5E29-6335-83BC-FA01-FAE422D2658B}"/>
              </a:ext>
            </a:extLst>
          </p:cNvPr>
          <p:cNvSpPr>
            <a:spLocks noGrp="1"/>
          </p:cNvSpPr>
          <p:nvPr>
            <p:ph type="ftr" sz="quarter" idx="11"/>
          </p:nvPr>
        </p:nvSpPr>
        <p:spPr/>
        <p:txBody>
          <a:bodyPr>
            <a:noAutofit/>
          </a:bodyPr>
          <a:lstStyle/>
          <a:p>
            <a:r>
              <a:rPr lang="en-US"/>
              <a:t>Presentation title</a:t>
            </a:r>
            <a:endParaRPr lang="en-US" dirty="0"/>
          </a:p>
        </p:txBody>
      </p:sp>
      <p:sp>
        <p:nvSpPr>
          <p:cNvPr id="5" name="Slide Number Placeholder 4">
            <a:extLst>
              <a:ext uri="{FF2B5EF4-FFF2-40B4-BE49-F238E27FC236}">
                <a16:creationId xmlns:a16="http://schemas.microsoft.com/office/drawing/2014/main" id="{536476D1-B61A-E9FD-E266-768B405CC30B}"/>
              </a:ext>
            </a:extLst>
          </p:cNvPr>
          <p:cNvSpPr>
            <a:spLocks noGrp="1"/>
          </p:cNvSpPr>
          <p:nvPr>
            <p:ph type="sldNum" sz="quarter" idx="12"/>
          </p:nvPr>
        </p:nvSpPr>
        <p:spPr/>
        <p:txBody>
          <a:bodyPr>
            <a:noAutofit/>
          </a:bodyPr>
          <a:lstStyle/>
          <a:p>
            <a:fld id="{48F63A3B-78C7-47BE-AE5E-E10140E04643}" type="slidenum">
              <a:rPr lang="en-US" smtClean="0"/>
              <a:pPr/>
              <a:t>‹#›</a:t>
            </a:fld>
            <a:endParaRPr lang="en-US" dirty="0"/>
          </a:p>
        </p:txBody>
      </p:sp>
      <p:sp>
        <p:nvSpPr>
          <p:cNvPr id="46" name="Text Placeholder 2">
            <a:extLst>
              <a:ext uri="{FF2B5EF4-FFF2-40B4-BE49-F238E27FC236}">
                <a16:creationId xmlns:a16="http://schemas.microsoft.com/office/drawing/2014/main" id="{C025625F-8274-840F-6DD8-D36687CB8F7E}"/>
              </a:ext>
            </a:extLst>
          </p:cNvPr>
          <p:cNvSpPr>
            <a:spLocks noGrp="1"/>
          </p:cNvSpPr>
          <p:nvPr>
            <p:ph type="body" idx="1"/>
          </p:nvPr>
        </p:nvSpPr>
        <p:spPr>
          <a:xfrm>
            <a:off x="713232" y="2743200"/>
            <a:ext cx="3328416" cy="3557016"/>
          </a:xfrm>
          <a:noFill/>
          <a:ln w="12700">
            <a:solidFill>
              <a:schemeClr val="accent3"/>
            </a:solidFill>
          </a:ln>
        </p:spPr>
        <p:txBody>
          <a:bodyPr tIns="685800" anchor="t">
            <a:noAutofit/>
          </a:bodyPr>
          <a:lstStyle>
            <a:lvl1pPr marL="0" indent="0" algn="ctr">
              <a:lnSpc>
                <a:spcPct val="100000"/>
              </a:lnSpc>
              <a:spcBef>
                <a:spcPts val="0"/>
              </a:spcBef>
              <a:buNone/>
              <a:defRPr sz="1800" b="1" cap="all" spc="0" baseline="0">
                <a:solidFill>
                  <a:schemeClr val="accent6"/>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4" name="Picture Placeholder 62">
            <a:extLst>
              <a:ext uri="{FF2B5EF4-FFF2-40B4-BE49-F238E27FC236}">
                <a16:creationId xmlns:a16="http://schemas.microsoft.com/office/drawing/2014/main" id="{2F18FBB7-2D21-7954-1324-C7D3BFE5C85D}"/>
              </a:ext>
            </a:extLst>
          </p:cNvPr>
          <p:cNvSpPr>
            <a:spLocks noGrp="1" noChangeAspect="1"/>
          </p:cNvSpPr>
          <p:nvPr>
            <p:ph type="pic" sz="quarter" idx="23"/>
          </p:nvPr>
        </p:nvSpPr>
        <p:spPr>
          <a:xfrm>
            <a:off x="1911096" y="2258568"/>
            <a:ext cx="932688" cy="932688"/>
          </a:xfrm>
          <a:prstGeom prst="ellipse">
            <a:avLst/>
          </a:prstGeom>
          <a:solidFill>
            <a:schemeClr val="accent3"/>
          </a:solidFill>
        </p:spPr>
        <p:txBody>
          <a:bodyPr lIns="0" tIns="0" rIns="0" bIns="0" anchor="ctr">
            <a:noAutofit/>
          </a:bodyPr>
          <a:lstStyle>
            <a:lvl1pPr marL="0" indent="0" algn="ctr">
              <a:buNone/>
              <a:defRPr sz="900"/>
            </a:lvl1pPr>
          </a:lstStyle>
          <a:p>
            <a:endParaRPr lang="en-US" dirty="0"/>
          </a:p>
        </p:txBody>
      </p:sp>
      <p:sp>
        <p:nvSpPr>
          <p:cNvPr id="52" name="Text Placeholder 51">
            <a:extLst>
              <a:ext uri="{FF2B5EF4-FFF2-40B4-BE49-F238E27FC236}">
                <a16:creationId xmlns:a16="http://schemas.microsoft.com/office/drawing/2014/main" id="{2EF54C35-5F8E-4E0A-AB4D-97E38121910A}"/>
              </a:ext>
            </a:extLst>
          </p:cNvPr>
          <p:cNvSpPr>
            <a:spLocks noGrp="1"/>
          </p:cNvSpPr>
          <p:nvPr>
            <p:ph type="body" sz="quarter" idx="18"/>
          </p:nvPr>
        </p:nvSpPr>
        <p:spPr>
          <a:xfrm>
            <a:off x="992124" y="3950208"/>
            <a:ext cx="2770632" cy="2206752"/>
          </a:xfrm>
          <a:noFill/>
        </p:spPr>
        <p:txBody>
          <a:bodyPr lIns="91440" rIns="91440" anchor="t">
            <a:noAutofit/>
          </a:bodyPr>
          <a:lstStyle>
            <a:lvl1pPr marL="347472" indent="-347472" algn="l">
              <a:spcBef>
                <a:spcPts val="360"/>
              </a:spcBef>
              <a:buFont typeface="Arial" panose="020B0604020202020204" pitchFamily="34" charset="0"/>
              <a:buChar char="•"/>
              <a:defRPr sz="1500"/>
            </a:lvl1pPr>
          </a:lstStyle>
          <a:p>
            <a:pPr lvl="0"/>
            <a:r>
              <a:rPr lang="en-US" dirty="0"/>
              <a:t>Click to edit Master text styles</a:t>
            </a:r>
          </a:p>
        </p:txBody>
      </p:sp>
      <p:sp>
        <p:nvSpPr>
          <p:cNvPr id="49" name="Text Placeholder 4">
            <a:extLst>
              <a:ext uri="{FF2B5EF4-FFF2-40B4-BE49-F238E27FC236}">
                <a16:creationId xmlns:a16="http://schemas.microsoft.com/office/drawing/2014/main" id="{084A0326-A0B8-1723-B8BA-B015344F2DCE}"/>
              </a:ext>
            </a:extLst>
          </p:cNvPr>
          <p:cNvSpPr>
            <a:spLocks noGrp="1"/>
          </p:cNvSpPr>
          <p:nvPr>
            <p:ph type="body" sz="quarter" idx="15"/>
          </p:nvPr>
        </p:nvSpPr>
        <p:spPr>
          <a:xfrm>
            <a:off x="4443984" y="2743200"/>
            <a:ext cx="3328416" cy="3557016"/>
          </a:xfrm>
          <a:noFill/>
          <a:ln w="12700">
            <a:solidFill>
              <a:schemeClr val="accent1"/>
            </a:solidFill>
          </a:ln>
        </p:spPr>
        <p:txBody>
          <a:bodyPr tIns="685800" anchor="t">
            <a:noAutofit/>
          </a:bodyPr>
          <a:lstStyle>
            <a:lvl1pPr marL="0" indent="0" algn="ctr">
              <a:lnSpc>
                <a:spcPct val="100000"/>
              </a:lnSpc>
              <a:spcBef>
                <a:spcPts val="0"/>
              </a:spcBef>
              <a:buNone/>
              <a:defRPr sz="1800" b="1" cap="all" spc="0" baseline="0">
                <a:solidFill>
                  <a:schemeClr val="accent6"/>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6" name="Picture Placeholder 62">
            <a:extLst>
              <a:ext uri="{FF2B5EF4-FFF2-40B4-BE49-F238E27FC236}">
                <a16:creationId xmlns:a16="http://schemas.microsoft.com/office/drawing/2014/main" id="{139354A0-F5DF-3AC5-5E8B-A41146C26F3C}"/>
              </a:ext>
            </a:extLst>
          </p:cNvPr>
          <p:cNvSpPr>
            <a:spLocks noGrp="1" noChangeAspect="1"/>
          </p:cNvSpPr>
          <p:nvPr>
            <p:ph type="pic" sz="quarter" idx="25"/>
          </p:nvPr>
        </p:nvSpPr>
        <p:spPr>
          <a:xfrm>
            <a:off x="5641848" y="2258568"/>
            <a:ext cx="932688" cy="932688"/>
          </a:xfrm>
          <a:prstGeom prst="ellipse">
            <a:avLst/>
          </a:prstGeom>
          <a:solidFill>
            <a:schemeClr val="accent1"/>
          </a:solidFill>
        </p:spPr>
        <p:txBody>
          <a:bodyPr lIns="0" tIns="0" rIns="0" bIns="0" anchor="ctr">
            <a:noAutofit/>
          </a:bodyPr>
          <a:lstStyle>
            <a:lvl1pPr marL="0" indent="0" algn="ctr">
              <a:buNone/>
              <a:defRPr sz="900"/>
            </a:lvl1pPr>
          </a:lstStyle>
          <a:p>
            <a:endParaRPr lang="en-US" dirty="0"/>
          </a:p>
        </p:txBody>
      </p:sp>
      <p:sp>
        <p:nvSpPr>
          <p:cNvPr id="60" name="Text Placeholder 51">
            <a:extLst>
              <a:ext uri="{FF2B5EF4-FFF2-40B4-BE49-F238E27FC236}">
                <a16:creationId xmlns:a16="http://schemas.microsoft.com/office/drawing/2014/main" id="{E9730E82-F317-686A-8777-D81705BCC706}"/>
              </a:ext>
            </a:extLst>
          </p:cNvPr>
          <p:cNvSpPr>
            <a:spLocks noGrp="1"/>
          </p:cNvSpPr>
          <p:nvPr>
            <p:ph type="body" sz="quarter" idx="21"/>
          </p:nvPr>
        </p:nvSpPr>
        <p:spPr>
          <a:xfrm>
            <a:off x="4722876" y="3950208"/>
            <a:ext cx="2770632" cy="2206752"/>
          </a:xfrm>
          <a:noFill/>
        </p:spPr>
        <p:txBody>
          <a:bodyPr lIns="91440" rIns="91440" anchor="t">
            <a:noAutofit/>
          </a:bodyPr>
          <a:lstStyle>
            <a:lvl1pPr marL="347472" indent="-347472" algn="l">
              <a:spcBef>
                <a:spcPts val="360"/>
              </a:spcBef>
              <a:buFont typeface="Arial" panose="020B0604020202020204" pitchFamily="34" charset="0"/>
              <a:buChar char="•"/>
              <a:defRPr sz="1500"/>
            </a:lvl1pPr>
          </a:lstStyle>
          <a:p>
            <a:pPr lvl="0"/>
            <a:r>
              <a:rPr lang="en-US" dirty="0"/>
              <a:t>Click to edit Master text styles</a:t>
            </a:r>
          </a:p>
        </p:txBody>
      </p:sp>
      <p:sp>
        <p:nvSpPr>
          <p:cNvPr id="50" name="Text Placeholder 4">
            <a:extLst>
              <a:ext uri="{FF2B5EF4-FFF2-40B4-BE49-F238E27FC236}">
                <a16:creationId xmlns:a16="http://schemas.microsoft.com/office/drawing/2014/main" id="{0E3B57F3-1903-446F-D989-D6CA342D0861}"/>
              </a:ext>
            </a:extLst>
          </p:cNvPr>
          <p:cNvSpPr>
            <a:spLocks noGrp="1"/>
          </p:cNvSpPr>
          <p:nvPr>
            <p:ph type="body" sz="quarter" idx="17"/>
          </p:nvPr>
        </p:nvSpPr>
        <p:spPr>
          <a:xfrm>
            <a:off x="8092440" y="2743200"/>
            <a:ext cx="3328416" cy="3557016"/>
          </a:xfrm>
          <a:noFill/>
          <a:ln w="12700">
            <a:solidFill>
              <a:schemeClr val="accent4"/>
            </a:solidFill>
          </a:ln>
        </p:spPr>
        <p:txBody>
          <a:bodyPr tIns="685800" anchor="t">
            <a:noAutofit/>
          </a:bodyPr>
          <a:lstStyle>
            <a:lvl1pPr marL="0" indent="0" algn="ctr">
              <a:lnSpc>
                <a:spcPct val="100000"/>
              </a:lnSpc>
              <a:spcBef>
                <a:spcPts val="0"/>
              </a:spcBef>
              <a:buNone/>
              <a:defRPr sz="1800" b="1" cap="all" spc="0" baseline="0">
                <a:solidFill>
                  <a:schemeClr val="accent6"/>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5" name="Picture Placeholder 62">
            <a:extLst>
              <a:ext uri="{FF2B5EF4-FFF2-40B4-BE49-F238E27FC236}">
                <a16:creationId xmlns:a16="http://schemas.microsoft.com/office/drawing/2014/main" id="{D5BF3A8A-72F1-392E-855B-5B36E244A7FD}"/>
              </a:ext>
            </a:extLst>
          </p:cNvPr>
          <p:cNvSpPr>
            <a:spLocks noGrp="1" noChangeAspect="1"/>
          </p:cNvSpPr>
          <p:nvPr>
            <p:ph type="pic" sz="quarter" idx="24"/>
          </p:nvPr>
        </p:nvSpPr>
        <p:spPr>
          <a:xfrm>
            <a:off x="9290304" y="2258568"/>
            <a:ext cx="932688" cy="932688"/>
          </a:xfrm>
          <a:prstGeom prst="ellipse">
            <a:avLst/>
          </a:prstGeom>
          <a:solidFill>
            <a:schemeClr val="accent4"/>
          </a:solidFill>
        </p:spPr>
        <p:txBody>
          <a:bodyPr lIns="0" tIns="0" rIns="0" bIns="0" anchor="ctr">
            <a:noAutofit/>
          </a:bodyPr>
          <a:lstStyle>
            <a:lvl1pPr marL="0" indent="0" algn="ctr">
              <a:buNone/>
              <a:defRPr sz="900"/>
            </a:lvl1pPr>
          </a:lstStyle>
          <a:p>
            <a:endParaRPr lang="en-US" dirty="0"/>
          </a:p>
        </p:txBody>
      </p:sp>
      <p:sp>
        <p:nvSpPr>
          <p:cNvPr id="61" name="Text Placeholder 51">
            <a:extLst>
              <a:ext uri="{FF2B5EF4-FFF2-40B4-BE49-F238E27FC236}">
                <a16:creationId xmlns:a16="http://schemas.microsoft.com/office/drawing/2014/main" id="{2AED5DDC-3165-FA12-0310-E3545223E292}"/>
              </a:ext>
            </a:extLst>
          </p:cNvPr>
          <p:cNvSpPr>
            <a:spLocks noGrp="1"/>
          </p:cNvSpPr>
          <p:nvPr>
            <p:ph type="body" sz="quarter" idx="22"/>
          </p:nvPr>
        </p:nvSpPr>
        <p:spPr>
          <a:xfrm>
            <a:off x="8371332" y="3950208"/>
            <a:ext cx="2770632" cy="2206752"/>
          </a:xfrm>
          <a:noFill/>
        </p:spPr>
        <p:txBody>
          <a:bodyPr lIns="91440" rIns="91440" anchor="t">
            <a:noAutofit/>
          </a:bodyPr>
          <a:lstStyle>
            <a:lvl1pPr marL="347472" indent="-347472" algn="l">
              <a:spcBef>
                <a:spcPts val="360"/>
              </a:spcBef>
              <a:buFont typeface="Arial" panose="020B0604020202020204" pitchFamily="34" charset="0"/>
              <a:buChar char="•"/>
              <a:defRPr sz="1500"/>
            </a:lvl1pPr>
          </a:lstStyle>
          <a:p>
            <a:pPr lvl="0"/>
            <a:r>
              <a:rPr lang="en-US" dirty="0"/>
              <a:t>Click to edit Master text styles</a:t>
            </a:r>
          </a:p>
        </p:txBody>
      </p:sp>
    </p:spTree>
    <p:extLst>
      <p:ext uri="{BB962C8B-B14F-4D97-AF65-F5344CB8AC3E}">
        <p14:creationId xmlns:p14="http://schemas.microsoft.com/office/powerpoint/2010/main" val="626696091"/>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obj" preserve="1">
  <p:cSld name="Summary">
    <p:spTree>
      <p:nvGrpSpPr>
        <p:cNvPr id="1" name=""/>
        <p:cNvGrpSpPr/>
        <p:nvPr/>
      </p:nvGrpSpPr>
      <p:grpSpPr>
        <a:xfrm>
          <a:off x="0" y="0"/>
          <a:ext cx="0" cy="0"/>
          <a:chOff x="0" y="0"/>
          <a:chExt cx="0" cy="0"/>
        </a:xfrm>
      </p:grpSpPr>
      <p:sp>
        <p:nvSpPr>
          <p:cNvPr id="24" name="Image 2" descr="preencoded.png">
            <a:extLst>
              <a:ext uri="{FF2B5EF4-FFF2-40B4-BE49-F238E27FC236}">
                <a16:creationId xmlns:a16="http://schemas.microsoft.com/office/drawing/2014/main" id="{ABC388A2-FFC7-1A87-02FB-C97B50161FD3}"/>
              </a:ext>
            </a:extLst>
          </p:cNvPr>
          <p:cNvSpPr/>
          <p:nvPr/>
        </p:nvSpPr>
        <p:spPr>
          <a:xfrm>
            <a:off x="8758238" y="-14287"/>
            <a:ext cx="3433763" cy="3452812"/>
          </a:xfrm>
          <a:custGeom>
            <a:avLst/>
            <a:gdLst>
              <a:gd name="connsiteX0" fmla="*/ 3433763 w 3433763"/>
              <a:gd name="connsiteY0" fmla="*/ 0 h 3452812"/>
              <a:gd name="connsiteX1" fmla="*/ 3433763 w 3433763"/>
              <a:gd name="connsiteY1" fmla="*/ 3452813 h 3452812"/>
              <a:gd name="connsiteX2" fmla="*/ 0 w 3433763"/>
              <a:gd name="connsiteY2" fmla="*/ 3452813 h 3452812"/>
              <a:gd name="connsiteX3" fmla="*/ 3433763 w 3433763"/>
              <a:gd name="connsiteY3" fmla="*/ 0 h 3452812"/>
            </a:gdLst>
            <a:ahLst/>
            <a:cxnLst>
              <a:cxn ang="0">
                <a:pos x="connsiteX0" y="connsiteY0"/>
              </a:cxn>
              <a:cxn ang="0">
                <a:pos x="connsiteX1" y="connsiteY1"/>
              </a:cxn>
              <a:cxn ang="0">
                <a:pos x="connsiteX2" y="connsiteY2"/>
              </a:cxn>
              <a:cxn ang="0">
                <a:pos x="connsiteX3" y="connsiteY3"/>
              </a:cxn>
            </a:cxnLst>
            <a:rect l="l" t="t" r="r" b="b"/>
            <a:pathLst>
              <a:path w="3433763" h="3452812">
                <a:moveTo>
                  <a:pt x="3433763" y="0"/>
                </a:moveTo>
                <a:lnTo>
                  <a:pt x="3433763" y="3452813"/>
                </a:lnTo>
                <a:lnTo>
                  <a:pt x="0" y="3452813"/>
                </a:lnTo>
                <a:cubicBezTo>
                  <a:pt x="0" y="1545912"/>
                  <a:pt x="1537383" y="0"/>
                  <a:pt x="3433763" y="0"/>
                </a:cubicBezTo>
                <a:close/>
              </a:path>
            </a:pathLst>
          </a:custGeom>
          <a:solidFill>
            <a:schemeClr val="accent1"/>
          </a:solidFill>
          <a:ln w="4756" cap="flat">
            <a:noFill/>
            <a:prstDash val="solid"/>
            <a:miter/>
          </a:ln>
        </p:spPr>
        <p:txBody>
          <a:bodyPr rtlCol="0" anchor="ctr"/>
          <a:lstStyle/>
          <a:p>
            <a:endParaRPr lang="en-US" dirty="0"/>
          </a:p>
        </p:txBody>
      </p:sp>
      <p:sp>
        <p:nvSpPr>
          <p:cNvPr id="25" name="Image 3" descr="preencoded.png">
            <a:extLst>
              <a:ext uri="{FF2B5EF4-FFF2-40B4-BE49-F238E27FC236}">
                <a16:creationId xmlns:a16="http://schemas.microsoft.com/office/drawing/2014/main" id="{D64C4994-B525-F4C0-B74F-D5E8296DFC43}"/>
              </a:ext>
            </a:extLst>
          </p:cNvPr>
          <p:cNvSpPr/>
          <p:nvPr/>
        </p:nvSpPr>
        <p:spPr>
          <a:xfrm>
            <a:off x="8758238" y="3438525"/>
            <a:ext cx="3433763" cy="3433762"/>
          </a:xfrm>
          <a:custGeom>
            <a:avLst/>
            <a:gdLst>
              <a:gd name="connsiteX0" fmla="*/ 0 w 3433763"/>
              <a:gd name="connsiteY0" fmla="*/ 0 h 3433762"/>
              <a:gd name="connsiteX1" fmla="*/ 3433763 w 3433763"/>
              <a:gd name="connsiteY1" fmla="*/ 0 h 3433762"/>
              <a:gd name="connsiteX2" fmla="*/ 3433763 w 3433763"/>
              <a:gd name="connsiteY2" fmla="*/ 3433763 h 3433762"/>
              <a:gd name="connsiteX3" fmla="*/ 0 w 3433763"/>
              <a:gd name="connsiteY3" fmla="*/ 0 h 3433762"/>
            </a:gdLst>
            <a:ahLst/>
            <a:cxnLst>
              <a:cxn ang="0">
                <a:pos x="connsiteX0" y="connsiteY0"/>
              </a:cxn>
              <a:cxn ang="0">
                <a:pos x="connsiteX1" y="connsiteY1"/>
              </a:cxn>
              <a:cxn ang="0">
                <a:pos x="connsiteX2" y="connsiteY2"/>
              </a:cxn>
              <a:cxn ang="0">
                <a:pos x="connsiteX3" y="connsiteY3"/>
              </a:cxn>
            </a:cxnLst>
            <a:rect l="l" t="t" r="r" b="b"/>
            <a:pathLst>
              <a:path w="3433763" h="3433762">
                <a:moveTo>
                  <a:pt x="0" y="0"/>
                </a:moveTo>
                <a:lnTo>
                  <a:pt x="3433763" y="0"/>
                </a:lnTo>
                <a:lnTo>
                  <a:pt x="3433763" y="3433763"/>
                </a:lnTo>
                <a:cubicBezTo>
                  <a:pt x="1537383" y="3433763"/>
                  <a:pt x="0" y="1896380"/>
                  <a:pt x="0" y="0"/>
                </a:cubicBezTo>
                <a:close/>
              </a:path>
            </a:pathLst>
          </a:custGeom>
          <a:solidFill>
            <a:schemeClr val="accent2"/>
          </a:solidFill>
          <a:ln w="4756" cap="flat">
            <a:noFill/>
            <a:prstDash val="solid"/>
            <a:miter/>
          </a:ln>
        </p:spPr>
        <p:txBody>
          <a:bodyPr rtlCol="0" anchor="ctr"/>
          <a:lstStyle/>
          <a:p>
            <a:endParaRPr lang="en-US" dirty="0"/>
          </a:p>
        </p:txBody>
      </p:sp>
      <p:sp>
        <p:nvSpPr>
          <p:cNvPr id="26" name="Image 4" descr="preencoded.png">
            <a:extLst>
              <a:ext uri="{FF2B5EF4-FFF2-40B4-BE49-F238E27FC236}">
                <a16:creationId xmlns:a16="http://schemas.microsoft.com/office/drawing/2014/main" id="{9019DA73-2516-F3D2-ECDB-620C90483DB3}"/>
              </a:ext>
            </a:extLst>
          </p:cNvPr>
          <p:cNvSpPr/>
          <p:nvPr/>
        </p:nvSpPr>
        <p:spPr>
          <a:xfrm flipV="1">
            <a:off x="9991725" y="1247775"/>
            <a:ext cx="2200275" cy="2181225"/>
          </a:xfrm>
          <a:custGeom>
            <a:avLst/>
            <a:gdLst>
              <a:gd name="connsiteX0" fmla="*/ 0 w 2200275"/>
              <a:gd name="connsiteY0" fmla="*/ 0 h 2181225"/>
              <a:gd name="connsiteX1" fmla="*/ 2200275 w 2200275"/>
              <a:gd name="connsiteY1" fmla="*/ 2181225 h 2181225"/>
              <a:gd name="connsiteX2" fmla="*/ 2200275 w 2200275"/>
              <a:gd name="connsiteY2" fmla="*/ 0 h 2181225"/>
              <a:gd name="connsiteX3" fmla="*/ 0 w 2200275"/>
              <a:gd name="connsiteY3" fmla="*/ 0 h 2181225"/>
            </a:gdLst>
            <a:ahLst/>
            <a:cxnLst>
              <a:cxn ang="0">
                <a:pos x="connsiteX0" y="connsiteY0"/>
              </a:cxn>
              <a:cxn ang="0">
                <a:pos x="connsiteX1" y="connsiteY1"/>
              </a:cxn>
              <a:cxn ang="0">
                <a:pos x="connsiteX2" y="connsiteY2"/>
              </a:cxn>
              <a:cxn ang="0">
                <a:pos x="connsiteX3" y="connsiteY3"/>
              </a:cxn>
            </a:cxnLst>
            <a:rect l="l" t="t" r="r" b="b"/>
            <a:pathLst>
              <a:path w="2200275" h="2181225">
                <a:moveTo>
                  <a:pt x="0" y="0"/>
                </a:moveTo>
                <a:cubicBezTo>
                  <a:pt x="0" y="1204689"/>
                  <a:pt x="985061" y="2181225"/>
                  <a:pt x="2200275" y="2181225"/>
                </a:cubicBezTo>
                <a:lnTo>
                  <a:pt x="2200275" y="0"/>
                </a:lnTo>
                <a:lnTo>
                  <a:pt x="0" y="0"/>
                </a:lnTo>
                <a:close/>
              </a:path>
            </a:pathLst>
          </a:custGeom>
          <a:solidFill>
            <a:schemeClr val="accent4"/>
          </a:solidFill>
          <a:ln w="4763" cap="flat">
            <a:noFill/>
            <a:prstDash val="solid"/>
            <a:miter/>
          </a:ln>
        </p:spPr>
        <p:txBody>
          <a:bodyPr rtlCol="0" anchor="ctr"/>
          <a:lstStyle/>
          <a:p>
            <a:endParaRPr lang="en-US" dirty="0"/>
          </a:p>
        </p:txBody>
      </p:sp>
      <p:sp>
        <p:nvSpPr>
          <p:cNvPr id="53" name="Image 7" descr="preencoded.png">
            <a:extLst>
              <a:ext uri="{FF2B5EF4-FFF2-40B4-BE49-F238E27FC236}">
                <a16:creationId xmlns:a16="http://schemas.microsoft.com/office/drawing/2014/main" id="{FEA70E9F-C506-413C-11EF-5915A2296643}"/>
              </a:ext>
            </a:extLst>
          </p:cNvPr>
          <p:cNvSpPr/>
          <p:nvPr/>
        </p:nvSpPr>
        <p:spPr>
          <a:xfrm flipV="1">
            <a:off x="-20086" y="4580051"/>
            <a:ext cx="2277948" cy="2277948"/>
          </a:xfrm>
          <a:custGeom>
            <a:avLst/>
            <a:gdLst>
              <a:gd name="connsiteX0" fmla="*/ 0 w 2277948"/>
              <a:gd name="connsiteY0" fmla="*/ 2277948 h 2277948"/>
              <a:gd name="connsiteX1" fmla="*/ 2277948 w 2277948"/>
              <a:gd name="connsiteY1" fmla="*/ 0 h 2277948"/>
              <a:gd name="connsiteX2" fmla="*/ 0 w 2277948"/>
              <a:gd name="connsiteY2" fmla="*/ 0 h 2277948"/>
              <a:gd name="connsiteX3" fmla="*/ 0 w 2277948"/>
              <a:gd name="connsiteY3" fmla="*/ 2277948 h 2277948"/>
            </a:gdLst>
            <a:ahLst/>
            <a:cxnLst>
              <a:cxn ang="0">
                <a:pos x="connsiteX0" y="connsiteY0"/>
              </a:cxn>
              <a:cxn ang="0">
                <a:pos x="connsiteX1" y="connsiteY1"/>
              </a:cxn>
              <a:cxn ang="0">
                <a:pos x="connsiteX2" y="connsiteY2"/>
              </a:cxn>
              <a:cxn ang="0">
                <a:pos x="connsiteX3" y="connsiteY3"/>
              </a:cxn>
            </a:cxnLst>
            <a:rect l="l" t="t" r="r" b="b"/>
            <a:pathLst>
              <a:path w="2277948" h="2277948">
                <a:moveTo>
                  <a:pt x="0" y="2277948"/>
                </a:moveTo>
                <a:cubicBezTo>
                  <a:pt x="1258034" y="2277948"/>
                  <a:pt x="2277948" y="1258034"/>
                  <a:pt x="2277948" y="0"/>
                </a:cubicBezTo>
                <a:lnTo>
                  <a:pt x="0" y="0"/>
                </a:lnTo>
                <a:lnTo>
                  <a:pt x="0" y="2277948"/>
                </a:lnTo>
                <a:close/>
              </a:path>
            </a:pathLst>
          </a:custGeom>
          <a:solidFill>
            <a:schemeClr val="accent4"/>
          </a:solidFill>
          <a:ln w="5083" cap="flat">
            <a:noFill/>
            <a:prstDash val="solid"/>
            <a:miter/>
          </a:ln>
        </p:spPr>
        <p:txBody>
          <a:bodyPr rtlCol="0" anchor="ctr"/>
          <a:lstStyle/>
          <a:p>
            <a:endParaRPr lang="en-US" dirty="0"/>
          </a:p>
        </p:txBody>
      </p:sp>
      <p:pic>
        <p:nvPicPr>
          <p:cNvPr id="21" name="Image 2" descr="preencoded.png">
            <a:extLst>
              <a:ext uri="{FF2B5EF4-FFF2-40B4-BE49-F238E27FC236}">
                <a16:creationId xmlns:a16="http://schemas.microsoft.com/office/drawing/2014/main" id="{A8B7F1F1-806C-8D65-7340-220A0C4653C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rcRect/>
          <a:stretch/>
        </p:blipFill>
        <p:spPr>
          <a:xfrm>
            <a:off x="9991886" y="3441269"/>
            <a:ext cx="2200114" cy="2200114"/>
          </a:xfrm>
          <a:prstGeom prst="rect">
            <a:avLst/>
          </a:prstGeom>
        </p:spPr>
      </p:pic>
      <p:sp>
        <p:nvSpPr>
          <p:cNvPr id="54" name="Image 2" descr="preencoded.png">
            <a:extLst>
              <a:ext uri="{FF2B5EF4-FFF2-40B4-BE49-F238E27FC236}">
                <a16:creationId xmlns:a16="http://schemas.microsoft.com/office/drawing/2014/main" id="{F19C81EC-0322-58A2-C455-6E2C84D1E6E8}"/>
              </a:ext>
            </a:extLst>
          </p:cNvPr>
          <p:cNvSpPr/>
          <p:nvPr/>
        </p:nvSpPr>
        <p:spPr>
          <a:xfrm>
            <a:off x="1707959" y="5667616"/>
            <a:ext cx="775021" cy="775021"/>
          </a:xfrm>
          <a:custGeom>
            <a:avLst/>
            <a:gdLst>
              <a:gd name="connsiteX0" fmla="*/ 387511 w 775021"/>
              <a:gd name="connsiteY0" fmla="*/ 775021 h 775021"/>
              <a:gd name="connsiteX1" fmla="*/ 775021 w 775021"/>
              <a:gd name="connsiteY1" fmla="*/ 387511 h 775021"/>
              <a:gd name="connsiteX2" fmla="*/ 387511 w 775021"/>
              <a:gd name="connsiteY2" fmla="*/ 0 h 775021"/>
              <a:gd name="connsiteX3" fmla="*/ 0 w 775021"/>
              <a:gd name="connsiteY3" fmla="*/ 387511 h 775021"/>
              <a:gd name="connsiteX4" fmla="*/ 387511 w 775021"/>
              <a:gd name="connsiteY4" fmla="*/ 775021 h 7750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5021" h="775021">
                <a:moveTo>
                  <a:pt x="387511" y="775021"/>
                </a:moveTo>
                <a:cubicBezTo>
                  <a:pt x="601527" y="775021"/>
                  <a:pt x="775021" y="601527"/>
                  <a:pt x="775021" y="387511"/>
                </a:cubicBezTo>
                <a:cubicBezTo>
                  <a:pt x="775021" y="173494"/>
                  <a:pt x="601527" y="0"/>
                  <a:pt x="387511" y="0"/>
                </a:cubicBezTo>
                <a:cubicBezTo>
                  <a:pt x="173494" y="0"/>
                  <a:pt x="0" y="173494"/>
                  <a:pt x="0" y="387511"/>
                </a:cubicBezTo>
                <a:cubicBezTo>
                  <a:pt x="0" y="601527"/>
                  <a:pt x="173494" y="775021"/>
                  <a:pt x="387511" y="775021"/>
                </a:cubicBezTo>
                <a:close/>
              </a:path>
            </a:pathLst>
          </a:custGeom>
          <a:solidFill>
            <a:schemeClr val="accent6"/>
          </a:solidFill>
          <a:ln w="3801" cap="flat">
            <a:noFill/>
            <a:prstDash val="solid"/>
            <a:miter/>
          </a:ln>
        </p:spPr>
        <p:txBody>
          <a:bodyPr rtlCol="0" anchor="ctr"/>
          <a:lstStyle/>
          <a:p>
            <a:endParaRPr lang="en-US" dirty="0"/>
          </a:p>
        </p:txBody>
      </p:sp>
      <p:sp>
        <p:nvSpPr>
          <p:cNvPr id="2" name="Title 1"/>
          <p:cNvSpPr>
            <a:spLocks noGrp="1"/>
          </p:cNvSpPr>
          <p:nvPr>
            <p:ph type="title"/>
          </p:nvPr>
        </p:nvSpPr>
        <p:spPr>
          <a:xfrm>
            <a:off x="1508760" y="1883664"/>
            <a:ext cx="6766560" cy="768096"/>
          </a:xfrm>
        </p:spPr>
        <p:txBody>
          <a:bodyPr>
            <a:noAutofit/>
          </a:bodyPr>
          <a:lstStyle>
            <a:lvl1pPr algn="l">
              <a:lnSpc>
                <a:spcPct val="100000"/>
              </a:lnSpc>
              <a:defRPr b="1"/>
            </a:lvl1pPr>
          </a:lstStyle>
          <a:p>
            <a:r>
              <a:rPr lang="en-US" dirty="0"/>
              <a:t>Click to edit Master title style</a:t>
            </a:r>
          </a:p>
        </p:txBody>
      </p:sp>
      <p:sp>
        <p:nvSpPr>
          <p:cNvPr id="3" name="Content Placeholder 2"/>
          <p:cNvSpPr>
            <a:spLocks noGrp="1"/>
          </p:cNvSpPr>
          <p:nvPr>
            <p:ph idx="1"/>
          </p:nvPr>
        </p:nvSpPr>
        <p:spPr>
          <a:xfrm>
            <a:off x="1508760" y="2837688"/>
            <a:ext cx="5879592" cy="2700528"/>
          </a:xfrm>
        </p:spPr>
        <p:txBody>
          <a:bodyPr>
            <a:noAutofit/>
          </a:bodyPr>
          <a:lstStyle>
            <a:lvl1pPr marL="0" indent="0">
              <a:buNone/>
              <a:defRPr sz="1500"/>
            </a:lvl1pPr>
            <a:lvl2pPr>
              <a:defRPr sz="1500"/>
            </a:lvl2pPr>
            <a:lvl3pPr>
              <a:defRPr sz="1500"/>
            </a:lvl3pPr>
            <a:lvl4pPr>
              <a:defRPr sz="1500"/>
            </a:lvl4pPr>
            <a:lvl5pPr>
              <a:defRPr sz="15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noAutofit/>
          </a:bodyPr>
          <a:lstStyle/>
          <a:p>
            <a:fld id="{48F63A3B-78C7-47BE-AE5E-E10140E04643}" type="slidenum">
              <a:rPr lang="en-US" dirty="0"/>
              <a:t>‹#›</a:t>
            </a:fld>
            <a:endParaRPr lang="en-US" dirty="0"/>
          </a:p>
        </p:txBody>
      </p:sp>
      <p:sp>
        <p:nvSpPr>
          <p:cNvPr id="4" name="Footer Placeholder 3">
            <a:extLst>
              <a:ext uri="{FF2B5EF4-FFF2-40B4-BE49-F238E27FC236}">
                <a16:creationId xmlns:a16="http://schemas.microsoft.com/office/drawing/2014/main" id="{E1F9FD95-086F-282B-820C-8CDAD4A6EEB6}"/>
              </a:ext>
            </a:extLst>
          </p:cNvPr>
          <p:cNvSpPr>
            <a:spLocks noGrp="1"/>
          </p:cNvSpPr>
          <p:nvPr>
            <p:ph type="ftr" sz="quarter" idx="13"/>
          </p:nvPr>
        </p:nvSpPr>
        <p:spPr/>
        <p:txBody>
          <a:bodyPr/>
          <a:lstStyle/>
          <a:p>
            <a:r>
              <a:rPr lang="en-US"/>
              <a:t>Presentation title</a:t>
            </a:r>
            <a:endParaRPr lang="en-US" dirty="0"/>
          </a:p>
        </p:txBody>
      </p:sp>
    </p:spTree>
    <p:extLst>
      <p:ext uri="{BB962C8B-B14F-4D97-AF65-F5344CB8AC3E}">
        <p14:creationId xmlns:p14="http://schemas.microsoft.com/office/powerpoint/2010/main" val="2871504156"/>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title" preserve="1">
  <p:cSld name="Closing">
    <p:bg>
      <p:bgPr>
        <a:solidFill>
          <a:schemeClr val="accent6"/>
        </a:solidFill>
        <a:effectLst/>
      </p:bgPr>
    </p:bg>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AEF1F750-031C-BDB7-BD7B-9CBE17406FDB}"/>
              </a:ext>
            </a:extLst>
          </p:cNvPr>
          <p:cNvSpPr/>
          <p:nvPr userDrawn="1"/>
        </p:nvSpPr>
        <p:spPr>
          <a:xfrm>
            <a:off x="0" y="0"/>
            <a:ext cx="8948738" cy="6858000"/>
          </a:xfrm>
          <a:custGeom>
            <a:avLst/>
            <a:gdLst>
              <a:gd name="connsiteX0" fmla="*/ 0 w 8948738"/>
              <a:gd name="connsiteY0" fmla="*/ 0 h 6858000"/>
              <a:gd name="connsiteX1" fmla="*/ 5932941 w 8948738"/>
              <a:gd name="connsiteY1" fmla="*/ 0 h 6858000"/>
              <a:gd name="connsiteX2" fmla="*/ 6047310 w 8948738"/>
              <a:gd name="connsiteY2" fmla="*/ 14613 h 6858000"/>
              <a:gd name="connsiteX3" fmla="*/ 8948738 w 8948738"/>
              <a:gd name="connsiteY3" fmla="*/ 3416480 h 6858000"/>
              <a:gd name="connsiteX4" fmla="*/ 5702202 w 8948738"/>
              <a:gd name="connsiteY4" fmla="*/ 6853523 h 6858000"/>
              <a:gd name="connsiteX5" fmla="*/ 5526113 w 8948738"/>
              <a:gd name="connsiteY5" fmla="*/ 6858000 h 6858000"/>
              <a:gd name="connsiteX6" fmla="*/ 0 w 8948738"/>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8738" h="6858000">
                <a:moveTo>
                  <a:pt x="0" y="0"/>
                </a:moveTo>
                <a:lnTo>
                  <a:pt x="5932941" y="0"/>
                </a:lnTo>
                <a:lnTo>
                  <a:pt x="6047310" y="14613"/>
                </a:lnTo>
                <a:cubicBezTo>
                  <a:pt x="7690210" y="267026"/>
                  <a:pt x="8948738" y="1693971"/>
                  <a:pt x="8948738" y="3416480"/>
                </a:cubicBezTo>
                <a:cubicBezTo>
                  <a:pt x="8948738" y="5257788"/>
                  <a:pt x="7510634" y="6761349"/>
                  <a:pt x="5702202" y="6853523"/>
                </a:cubicBezTo>
                <a:lnTo>
                  <a:pt x="5526113" y="6858000"/>
                </a:lnTo>
                <a:lnTo>
                  <a:pt x="0" y="6858000"/>
                </a:lnTo>
                <a:close/>
              </a:path>
            </a:pathLst>
          </a:custGeom>
          <a:solidFill>
            <a:schemeClr val="bg1"/>
          </a:solidFill>
          <a:ln w="4760"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dirty="0">
              <a:solidFill>
                <a:schemeClr val="tx1"/>
              </a:solidFill>
            </a:endParaRPr>
          </a:p>
        </p:txBody>
      </p:sp>
      <p:sp>
        <p:nvSpPr>
          <p:cNvPr id="19" name="Freeform: Shape 18" descr="preencoded.png">
            <a:extLst>
              <a:ext uri="{FF2B5EF4-FFF2-40B4-BE49-F238E27FC236}">
                <a16:creationId xmlns:a16="http://schemas.microsoft.com/office/drawing/2014/main" id="{FEB515B5-2D9F-58E1-6E3C-CCBF105D891E}"/>
              </a:ext>
            </a:extLst>
          </p:cNvPr>
          <p:cNvSpPr/>
          <p:nvPr userDrawn="1"/>
        </p:nvSpPr>
        <p:spPr>
          <a:xfrm>
            <a:off x="7538626" y="13142"/>
            <a:ext cx="4653374" cy="6831717"/>
          </a:xfrm>
          <a:custGeom>
            <a:avLst/>
            <a:gdLst>
              <a:gd name="connsiteX0" fmla="*/ 3416476 w 4653374"/>
              <a:gd name="connsiteY0" fmla="*/ 0 h 6831717"/>
              <a:gd name="connsiteX1" fmla="*/ 4653374 w 4653374"/>
              <a:gd name="connsiteY1" fmla="*/ 0 h 6831717"/>
              <a:gd name="connsiteX2" fmla="*/ 4653374 w 4653374"/>
              <a:gd name="connsiteY2" fmla="*/ 6831717 h 6831717"/>
              <a:gd name="connsiteX3" fmla="*/ 3416476 w 4653374"/>
              <a:gd name="connsiteY3" fmla="*/ 6831717 h 6831717"/>
              <a:gd name="connsiteX4" fmla="*/ 0 w 4653374"/>
              <a:gd name="connsiteY4" fmla="*/ 3415863 h 6831717"/>
              <a:gd name="connsiteX5" fmla="*/ 3416476 w 4653374"/>
              <a:gd name="connsiteY5" fmla="*/ 0 h 6831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53374" h="6831717">
                <a:moveTo>
                  <a:pt x="3416476" y="0"/>
                </a:moveTo>
                <a:lnTo>
                  <a:pt x="4653374" y="0"/>
                </a:lnTo>
                <a:lnTo>
                  <a:pt x="4653374" y="6831717"/>
                </a:lnTo>
                <a:lnTo>
                  <a:pt x="3416476" y="6831717"/>
                </a:lnTo>
                <a:cubicBezTo>
                  <a:pt x="1529612" y="6831717"/>
                  <a:pt x="0" y="5302406"/>
                  <a:pt x="0" y="3415863"/>
                </a:cubicBezTo>
                <a:cubicBezTo>
                  <a:pt x="0" y="1529335"/>
                  <a:pt x="1529607" y="0"/>
                  <a:pt x="3416476" y="0"/>
                </a:cubicBezTo>
                <a:close/>
              </a:path>
            </a:pathLst>
          </a:custGeom>
          <a:solidFill>
            <a:schemeClr val="accent1"/>
          </a:solidFill>
          <a:ln w="4777" cap="flat">
            <a:noFill/>
            <a:prstDash val="solid"/>
            <a:miter/>
          </a:ln>
        </p:spPr>
        <p:txBody>
          <a:bodyPr rtlCol="0" anchor="ctr"/>
          <a:lstStyle/>
          <a:p>
            <a:endParaRPr lang="en-US" dirty="0"/>
          </a:p>
        </p:txBody>
      </p:sp>
      <p:pic>
        <p:nvPicPr>
          <p:cNvPr id="9" name="Image 2" descr="preencoded.png">
            <a:extLst>
              <a:ext uri="{FF2B5EF4-FFF2-40B4-BE49-F238E27FC236}">
                <a16:creationId xmlns:a16="http://schemas.microsoft.com/office/drawing/2014/main" id="{5CCFEDF9-5B69-87BA-8A33-35033DA4013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rcRect/>
          <a:stretch/>
        </p:blipFill>
        <p:spPr>
          <a:xfrm>
            <a:off x="8737234" y="-25041"/>
            <a:ext cx="3432191" cy="3432191"/>
          </a:xfrm>
          <a:prstGeom prst="rect">
            <a:avLst/>
          </a:prstGeom>
        </p:spPr>
      </p:pic>
      <p:sp>
        <p:nvSpPr>
          <p:cNvPr id="2" name="Title 1"/>
          <p:cNvSpPr>
            <a:spLocks noGrp="1"/>
          </p:cNvSpPr>
          <p:nvPr>
            <p:ph type="ctrTitle"/>
          </p:nvPr>
        </p:nvSpPr>
        <p:spPr>
          <a:xfrm>
            <a:off x="1527048" y="1975104"/>
            <a:ext cx="4169664" cy="667512"/>
          </a:xfrm>
        </p:spPr>
        <p:txBody>
          <a:bodyPr tIns="0" anchor="ctr">
            <a:noAutofit/>
          </a:bodyPr>
          <a:lstStyle>
            <a:lvl1pPr algn="l">
              <a:defRPr sz="4400"/>
            </a:lvl1pPr>
          </a:lstStyle>
          <a:p>
            <a:r>
              <a:rPr lang="en-US" dirty="0"/>
              <a:t>Click to edit Master title style</a:t>
            </a:r>
          </a:p>
        </p:txBody>
      </p:sp>
      <p:sp>
        <p:nvSpPr>
          <p:cNvPr id="3" name="Subtitle 2"/>
          <p:cNvSpPr>
            <a:spLocks noGrp="1"/>
          </p:cNvSpPr>
          <p:nvPr>
            <p:ph type="subTitle" idx="1"/>
          </p:nvPr>
        </p:nvSpPr>
        <p:spPr>
          <a:xfrm>
            <a:off x="1545336" y="2846832"/>
            <a:ext cx="4169664" cy="2176272"/>
          </a:xfrm>
        </p:spPr>
        <p:txBody>
          <a:bodyPr lIns="91440" tIns="0" rIns="91440" bIns="0">
            <a:noAutofit/>
          </a:bodyPr>
          <a:lstStyle>
            <a:lvl1pPr marL="0" indent="0" algn="l">
              <a:spcBef>
                <a:spcPts val="576"/>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810592599"/>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Image 0" descr="preencoded.png">
            <a:extLst>
              <a:ext uri="{FF2B5EF4-FFF2-40B4-BE49-F238E27FC236}">
                <a16:creationId xmlns:a16="http://schemas.microsoft.com/office/drawing/2014/main" id="{8D5D10FF-3DE5-39CA-FA9A-29A09DC47BFC}"/>
              </a:ext>
            </a:extLst>
          </p:cNvPr>
          <p:cNvSpPr/>
          <p:nvPr userDrawn="1"/>
        </p:nvSpPr>
        <p:spPr>
          <a:xfrm>
            <a:off x="-5568" y="-2784"/>
            <a:ext cx="3443288" cy="6891337"/>
          </a:xfrm>
          <a:custGeom>
            <a:avLst/>
            <a:gdLst>
              <a:gd name="connsiteX0" fmla="*/ 3443288 w 3443288"/>
              <a:gd name="connsiteY0" fmla="*/ 0 h 6891337"/>
              <a:gd name="connsiteX1" fmla="*/ 0 w 3443288"/>
              <a:gd name="connsiteY1" fmla="*/ 0 h 6891337"/>
              <a:gd name="connsiteX2" fmla="*/ 0 w 3443288"/>
              <a:gd name="connsiteY2" fmla="*/ 6891338 h 6891337"/>
              <a:gd name="connsiteX3" fmla="*/ 3443288 w 3443288"/>
              <a:gd name="connsiteY3" fmla="*/ 6891338 h 6891337"/>
              <a:gd name="connsiteX4" fmla="*/ 3443288 w 3443288"/>
              <a:gd name="connsiteY4" fmla="*/ 0 h 68913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3288" h="6891337">
                <a:moveTo>
                  <a:pt x="3443288" y="0"/>
                </a:moveTo>
                <a:lnTo>
                  <a:pt x="0" y="0"/>
                </a:lnTo>
                <a:lnTo>
                  <a:pt x="0" y="6891338"/>
                </a:lnTo>
                <a:lnTo>
                  <a:pt x="3443288" y="6891338"/>
                </a:lnTo>
                <a:lnTo>
                  <a:pt x="3443288" y="0"/>
                </a:lnTo>
                <a:close/>
              </a:path>
            </a:pathLst>
          </a:custGeom>
          <a:solidFill>
            <a:schemeClr val="accent3"/>
          </a:solidFill>
          <a:ln w="4756" cap="flat">
            <a:noFill/>
            <a:prstDash val="solid"/>
            <a:miter/>
          </a:ln>
        </p:spPr>
        <p:txBody>
          <a:bodyPr rtlCol="0" anchor="ctr">
            <a:noAutofit/>
          </a:bodyPr>
          <a:lstStyle/>
          <a:p>
            <a:endParaRPr lang="en-US" dirty="0"/>
          </a:p>
        </p:txBody>
      </p:sp>
      <p:pic>
        <p:nvPicPr>
          <p:cNvPr id="11" name="Image 1" descr="preencoded.png">
            <a:extLst>
              <a:ext uri="{FF2B5EF4-FFF2-40B4-BE49-F238E27FC236}">
                <a16:creationId xmlns:a16="http://schemas.microsoft.com/office/drawing/2014/main" id="{BFA89E6A-8342-AE30-45E0-BC1DFE3276C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rcRect/>
          <a:stretch/>
        </p:blipFill>
        <p:spPr>
          <a:xfrm>
            <a:off x="1703311" y="-2784"/>
            <a:ext cx="1734410" cy="5167313"/>
          </a:xfrm>
          <a:prstGeom prst="rect">
            <a:avLst/>
          </a:prstGeom>
        </p:spPr>
      </p:pic>
      <p:sp>
        <p:nvSpPr>
          <p:cNvPr id="13" name="Freeform: Shape 12">
            <a:extLst>
              <a:ext uri="{FF2B5EF4-FFF2-40B4-BE49-F238E27FC236}">
                <a16:creationId xmlns:a16="http://schemas.microsoft.com/office/drawing/2014/main" id="{A08309FA-889A-E2F2-1EDA-F872245F5FDF}"/>
              </a:ext>
            </a:extLst>
          </p:cNvPr>
          <p:cNvSpPr/>
          <p:nvPr userDrawn="1"/>
        </p:nvSpPr>
        <p:spPr>
          <a:xfrm>
            <a:off x="1721621" y="-2784"/>
            <a:ext cx="1716115" cy="1720853"/>
          </a:xfrm>
          <a:custGeom>
            <a:avLst/>
            <a:gdLst>
              <a:gd name="connsiteX0" fmla="*/ 93358 w 1716115"/>
              <a:gd name="connsiteY0" fmla="*/ 0 h 1720853"/>
              <a:gd name="connsiteX1" fmla="*/ 110348 w 1716115"/>
              <a:gd name="connsiteY1" fmla="*/ 0 h 1720853"/>
              <a:gd name="connsiteX2" fmla="*/ 1716029 w 1716115"/>
              <a:gd name="connsiteY2" fmla="*/ 1610112 h 1720853"/>
              <a:gd name="connsiteX3" fmla="*/ 1716029 w 1716115"/>
              <a:gd name="connsiteY3" fmla="*/ 1627151 h 1720853"/>
              <a:gd name="connsiteX4" fmla="*/ 1716115 w 1716115"/>
              <a:gd name="connsiteY4" fmla="*/ 1627237 h 1720853"/>
              <a:gd name="connsiteX5" fmla="*/ 93358 w 1716115"/>
              <a:gd name="connsiteY5" fmla="*/ 0 h 1720853"/>
              <a:gd name="connsiteX6" fmla="*/ 0 w 1716115"/>
              <a:gd name="connsiteY6" fmla="*/ 0 h 1720853"/>
              <a:gd name="connsiteX7" fmla="*/ 16989 w 1716115"/>
              <a:gd name="connsiteY7" fmla="*/ 0 h 1720853"/>
              <a:gd name="connsiteX8" fmla="*/ 1716114 w 1716115"/>
              <a:gd name="connsiteY8" fmla="*/ 1703814 h 1720853"/>
              <a:gd name="connsiteX9" fmla="*/ 1716114 w 1716115"/>
              <a:gd name="connsiteY9" fmla="*/ 1720853 h 1720853"/>
              <a:gd name="connsiteX10" fmla="*/ 0 w 1716115"/>
              <a:gd name="connsiteY10" fmla="*/ 0 h 1720853"/>
              <a:gd name="connsiteX11" fmla="*/ 186798 w 1716115"/>
              <a:gd name="connsiteY11" fmla="*/ 0 h 1720853"/>
              <a:gd name="connsiteX12" fmla="*/ 203788 w 1716115"/>
              <a:gd name="connsiteY12" fmla="*/ 0 h 1720853"/>
              <a:gd name="connsiteX13" fmla="*/ 1716109 w 1716115"/>
              <a:gd name="connsiteY13" fmla="*/ 1516501 h 1720853"/>
              <a:gd name="connsiteX14" fmla="*/ 1716109 w 1716115"/>
              <a:gd name="connsiteY14" fmla="*/ 1533535 h 1720853"/>
              <a:gd name="connsiteX15" fmla="*/ 186798 w 1716115"/>
              <a:gd name="connsiteY15" fmla="*/ 0 h 1720853"/>
              <a:gd name="connsiteX16" fmla="*/ 280155 w 1716115"/>
              <a:gd name="connsiteY16" fmla="*/ 0 h 1720853"/>
              <a:gd name="connsiteX17" fmla="*/ 297145 w 1716115"/>
              <a:gd name="connsiteY17" fmla="*/ 0 h 1720853"/>
              <a:gd name="connsiteX18" fmla="*/ 1716114 w 1716115"/>
              <a:gd name="connsiteY18" fmla="*/ 1422885 h 1720853"/>
              <a:gd name="connsiteX19" fmla="*/ 1716114 w 1716115"/>
              <a:gd name="connsiteY19" fmla="*/ 1439924 h 1720853"/>
              <a:gd name="connsiteX20" fmla="*/ 280155 w 1716115"/>
              <a:gd name="connsiteY20" fmla="*/ 0 h 1720853"/>
              <a:gd name="connsiteX21" fmla="*/ 373512 w 1716115"/>
              <a:gd name="connsiteY21" fmla="*/ 0 h 1720853"/>
              <a:gd name="connsiteX22" fmla="*/ 390502 w 1716115"/>
              <a:gd name="connsiteY22" fmla="*/ 0 h 1720853"/>
              <a:gd name="connsiteX23" fmla="*/ 1716029 w 1716115"/>
              <a:gd name="connsiteY23" fmla="*/ 1329184 h 1720853"/>
              <a:gd name="connsiteX24" fmla="*/ 1716029 w 1716115"/>
              <a:gd name="connsiteY24" fmla="*/ 1346223 h 1720853"/>
              <a:gd name="connsiteX25" fmla="*/ 1716114 w 1716115"/>
              <a:gd name="connsiteY25" fmla="*/ 1346308 h 1720853"/>
              <a:gd name="connsiteX26" fmla="*/ 373512 w 1716115"/>
              <a:gd name="connsiteY26" fmla="*/ 0 h 1720853"/>
              <a:gd name="connsiteX27" fmla="*/ 466953 w 1716115"/>
              <a:gd name="connsiteY27" fmla="*/ 0 h 1720853"/>
              <a:gd name="connsiteX28" fmla="*/ 483944 w 1716115"/>
              <a:gd name="connsiteY28" fmla="*/ 0 h 1720853"/>
              <a:gd name="connsiteX29" fmla="*/ 1716110 w 1716115"/>
              <a:gd name="connsiteY29" fmla="*/ 1235573 h 1720853"/>
              <a:gd name="connsiteX30" fmla="*/ 1716110 w 1716115"/>
              <a:gd name="connsiteY30" fmla="*/ 1252607 h 1720853"/>
              <a:gd name="connsiteX31" fmla="*/ 466953 w 1716115"/>
              <a:gd name="connsiteY31" fmla="*/ 0 h 1720853"/>
              <a:gd name="connsiteX32" fmla="*/ 560310 w 1716115"/>
              <a:gd name="connsiteY32" fmla="*/ 0 h 1720853"/>
              <a:gd name="connsiteX33" fmla="*/ 577297 w 1716115"/>
              <a:gd name="connsiteY33" fmla="*/ 0 h 1720853"/>
              <a:gd name="connsiteX34" fmla="*/ 1716109 w 1716115"/>
              <a:gd name="connsiteY34" fmla="*/ 1141957 h 1720853"/>
              <a:gd name="connsiteX35" fmla="*/ 1716109 w 1716115"/>
              <a:gd name="connsiteY35" fmla="*/ 1158991 h 1720853"/>
              <a:gd name="connsiteX36" fmla="*/ 560310 w 1716115"/>
              <a:gd name="connsiteY36" fmla="*/ 0 h 1720853"/>
              <a:gd name="connsiteX37" fmla="*/ 653668 w 1716115"/>
              <a:gd name="connsiteY37" fmla="*/ 0 h 1720853"/>
              <a:gd name="connsiteX38" fmla="*/ 670655 w 1716115"/>
              <a:gd name="connsiteY38" fmla="*/ 0 h 1720853"/>
              <a:gd name="connsiteX39" fmla="*/ 1716029 w 1716115"/>
              <a:gd name="connsiteY39" fmla="*/ 1048255 h 1720853"/>
              <a:gd name="connsiteX40" fmla="*/ 1716029 w 1716115"/>
              <a:gd name="connsiteY40" fmla="*/ 1065294 h 1720853"/>
              <a:gd name="connsiteX41" fmla="*/ 1716114 w 1716115"/>
              <a:gd name="connsiteY41" fmla="*/ 1065380 h 1720853"/>
              <a:gd name="connsiteX42" fmla="*/ 653668 w 1716115"/>
              <a:gd name="connsiteY42" fmla="*/ 0 h 1720853"/>
              <a:gd name="connsiteX43" fmla="*/ 747112 w 1716115"/>
              <a:gd name="connsiteY43" fmla="*/ 0 h 1720853"/>
              <a:gd name="connsiteX44" fmla="*/ 764104 w 1716115"/>
              <a:gd name="connsiteY44" fmla="*/ 0 h 1720853"/>
              <a:gd name="connsiteX45" fmla="*/ 1716115 w 1716115"/>
              <a:gd name="connsiteY45" fmla="*/ 954644 h 1720853"/>
              <a:gd name="connsiteX46" fmla="*/ 1716115 w 1716115"/>
              <a:gd name="connsiteY46" fmla="*/ 971678 h 1720853"/>
              <a:gd name="connsiteX47" fmla="*/ 747112 w 1716115"/>
              <a:gd name="connsiteY47" fmla="*/ 0 h 1720853"/>
              <a:gd name="connsiteX48" fmla="*/ 840465 w 1716115"/>
              <a:gd name="connsiteY48" fmla="*/ 0 h 1720853"/>
              <a:gd name="connsiteX49" fmla="*/ 857452 w 1716115"/>
              <a:gd name="connsiteY49" fmla="*/ 0 h 1720853"/>
              <a:gd name="connsiteX50" fmla="*/ 1716109 w 1716115"/>
              <a:gd name="connsiteY50" fmla="*/ 861028 h 1720853"/>
              <a:gd name="connsiteX51" fmla="*/ 1716109 w 1716115"/>
              <a:gd name="connsiteY51" fmla="*/ 878062 h 1720853"/>
              <a:gd name="connsiteX52" fmla="*/ 840465 w 1716115"/>
              <a:gd name="connsiteY52" fmla="*/ 0 h 1720853"/>
              <a:gd name="connsiteX53" fmla="*/ 933823 w 1716115"/>
              <a:gd name="connsiteY53" fmla="*/ 0 h 1720853"/>
              <a:gd name="connsiteX54" fmla="*/ 950810 w 1716115"/>
              <a:gd name="connsiteY54" fmla="*/ 0 h 1720853"/>
              <a:gd name="connsiteX55" fmla="*/ 1716114 w 1716115"/>
              <a:gd name="connsiteY55" fmla="*/ 767327 h 1720853"/>
              <a:gd name="connsiteX56" fmla="*/ 1716114 w 1716115"/>
              <a:gd name="connsiteY56" fmla="*/ 784366 h 1720853"/>
              <a:gd name="connsiteX57" fmla="*/ 1716114 w 1716115"/>
              <a:gd name="connsiteY57" fmla="*/ 784451 h 1720853"/>
              <a:gd name="connsiteX58" fmla="*/ 933823 w 1716115"/>
              <a:gd name="connsiteY58" fmla="*/ 0 h 1720853"/>
              <a:gd name="connsiteX59" fmla="*/ 1027262 w 1716115"/>
              <a:gd name="connsiteY59" fmla="*/ 0 h 1720853"/>
              <a:gd name="connsiteX60" fmla="*/ 1044254 w 1716115"/>
              <a:gd name="connsiteY60" fmla="*/ 0 h 1720853"/>
              <a:gd name="connsiteX61" fmla="*/ 1716110 w 1716115"/>
              <a:gd name="connsiteY61" fmla="*/ 673716 h 1720853"/>
              <a:gd name="connsiteX62" fmla="*/ 1716110 w 1716115"/>
              <a:gd name="connsiteY62" fmla="*/ 690750 h 1720853"/>
              <a:gd name="connsiteX63" fmla="*/ 1027262 w 1716115"/>
              <a:gd name="connsiteY63" fmla="*/ 0 h 1720853"/>
              <a:gd name="connsiteX64" fmla="*/ 1120625 w 1716115"/>
              <a:gd name="connsiteY64" fmla="*/ 0 h 1720853"/>
              <a:gd name="connsiteX65" fmla="*/ 1137612 w 1716115"/>
              <a:gd name="connsiteY65" fmla="*/ 0 h 1720853"/>
              <a:gd name="connsiteX66" fmla="*/ 1716115 w 1716115"/>
              <a:gd name="connsiteY66" fmla="*/ 580100 h 1720853"/>
              <a:gd name="connsiteX67" fmla="*/ 1716115 w 1716115"/>
              <a:gd name="connsiteY67" fmla="*/ 597134 h 1720853"/>
              <a:gd name="connsiteX68" fmla="*/ 1120625 w 1716115"/>
              <a:gd name="connsiteY68" fmla="*/ 0 h 1720853"/>
              <a:gd name="connsiteX69" fmla="*/ 1213978 w 1716115"/>
              <a:gd name="connsiteY69" fmla="*/ 0 h 1720853"/>
              <a:gd name="connsiteX70" fmla="*/ 1230965 w 1716115"/>
              <a:gd name="connsiteY70" fmla="*/ 0 h 1720853"/>
              <a:gd name="connsiteX71" fmla="*/ 1716109 w 1716115"/>
              <a:gd name="connsiteY71" fmla="*/ 486398 h 1720853"/>
              <a:gd name="connsiteX72" fmla="*/ 1716109 w 1716115"/>
              <a:gd name="connsiteY72" fmla="*/ 503437 h 1720853"/>
              <a:gd name="connsiteX73" fmla="*/ 1716109 w 1716115"/>
              <a:gd name="connsiteY73" fmla="*/ 503523 h 1720853"/>
              <a:gd name="connsiteX74" fmla="*/ 1213978 w 1716115"/>
              <a:gd name="connsiteY74" fmla="*/ 0 h 1720853"/>
              <a:gd name="connsiteX75" fmla="*/ 1307422 w 1716115"/>
              <a:gd name="connsiteY75" fmla="*/ 0 h 1720853"/>
              <a:gd name="connsiteX76" fmla="*/ 1324414 w 1716115"/>
              <a:gd name="connsiteY76" fmla="*/ 0 h 1720853"/>
              <a:gd name="connsiteX77" fmla="*/ 1716115 w 1716115"/>
              <a:gd name="connsiteY77" fmla="*/ 392784 h 1720853"/>
              <a:gd name="connsiteX78" fmla="*/ 1716115 w 1716115"/>
              <a:gd name="connsiteY78" fmla="*/ 409821 h 1720853"/>
              <a:gd name="connsiteX79" fmla="*/ 1307422 w 1716115"/>
              <a:gd name="connsiteY79" fmla="*/ 0 h 1720853"/>
              <a:gd name="connsiteX80" fmla="*/ 1400775 w 1716115"/>
              <a:gd name="connsiteY80" fmla="*/ 0 h 1720853"/>
              <a:gd name="connsiteX81" fmla="*/ 1417762 w 1716115"/>
              <a:gd name="connsiteY81" fmla="*/ 0 h 1720853"/>
              <a:gd name="connsiteX82" fmla="*/ 1716109 w 1716115"/>
              <a:gd name="connsiteY82" fmla="*/ 299170 h 1720853"/>
              <a:gd name="connsiteX83" fmla="*/ 1716109 w 1716115"/>
              <a:gd name="connsiteY83" fmla="*/ 316207 h 1720853"/>
              <a:gd name="connsiteX84" fmla="*/ 1400775 w 1716115"/>
              <a:gd name="connsiteY84" fmla="*/ 0 h 1720853"/>
              <a:gd name="connsiteX85" fmla="*/ 1494133 w 1716115"/>
              <a:gd name="connsiteY85" fmla="*/ 0 h 1720853"/>
              <a:gd name="connsiteX86" fmla="*/ 1511120 w 1716115"/>
              <a:gd name="connsiteY86" fmla="*/ 0 h 1720853"/>
              <a:gd name="connsiteX87" fmla="*/ 1716109 w 1716115"/>
              <a:gd name="connsiteY87" fmla="*/ 205556 h 1720853"/>
              <a:gd name="connsiteX88" fmla="*/ 1716109 w 1716115"/>
              <a:gd name="connsiteY88" fmla="*/ 222592 h 1720853"/>
              <a:gd name="connsiteX89" fmla="*/ 1494133 w 1716115"/>
              <a:gd name="connsiteY89" fmla="*/ 0 h 1720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1716115" h="1720853">
                <a:moveTo>
                  <a:pt x="93358" y="0"/>
                </a:moveTo>
                <a:lnTo>
                  <a:pt x="110348" y="0"/>
                </a:lnTo>
                <a:cubicBezTo>
                  <a:pt x="110348" y="887874"/>
                  <a:pt x="830686" y="1610112"/>
                  <a:pt x="1716029" y="1610112"/>
                </a:cubicBezTo>
                <a:lnTo>
                  <a:pt x="1716029" y="1627151"/>
                </a:lnTo>
                <a:lnTo>
                  <a:pt x="1716115" y="1627237"/>
                </a:lnTo>
                <a:cubicBezTo>
                  <a:pt x="821334" y="1627237"/>
                  <a:pt x="93358" y="897252"/>
                  <a:pt x="93358" y="0"/>
                </a:cubicBezTo>
                <a:close/>
                <a:moveTo>
                  <a:pt x="0" y="0"/>
                </a:moveTo>
                <a:lnTo>
                  <a:pt x="16989" y="0"/>
                </a:lnTo>
                <a:cubicBezTo>
                  <a:pt x="16989" y="939499"/>
                  <a:pt x="779202" y="1703814"/>
                  <a:pt x="1716114" y="1703814"/>
                </a:cubicBezTo>
                <a:lnTo>
                  <a:pt x="1716114" y="1720853"/>
                </a:lnTo>
                <a:cubicBezTo>
                  <a:pt x="769850" y="1720853"/>
                  <a:pt x="0" y="948877"/>
                  <a:pt x="0" y="0"/>
                </a:cubicBezTo>
                <a:close/>
                <a:moveTo>
                  <a:pt x="186798" y="0"/>
                </a:moveTo>
                <a:lnTo>
                  <a:pt x="203788" y="0"/>
                </a:lnTo>
                <a:cubicBezTo>
                  <a:pt x="203788" y="836248"/>
                  <a:pt x="882254" y="1516501"/>
                  <a:pt x="1716109" y="1516501"/>
                </a:cubicBezTo>
                <a:lnTo>
                  <a:pt x="1716109" y="1533535"/>
                </a:lnTo>
                <a:cubicBezTo>
                  <a:pt x="872812" y="1533535"/>
                  <a:pt x="186798" y="845626"/>
                  <a:pt x="186798" y="0"/>
                </a:cubicBezTo>
                <a:close/>
                <a:moveTo>
                  <a:pt x="280155" y="0"/>
                </a:moveTo>
                <a:lnTo>
                  <a:pt x="297145" y="0"/>
                </a:lnTo>
                <a:cubicBezTo>
                  <a:pt x="297145" y="784537"/>
                  <a:pt x="933652" y="1422885"/>
                  <a:pt x="1716114" y="1422885"/>
                </a:cubicBezTo>
                <a:lnTo>
                  <a:pt x="1716114" y="1439924"/>
                </a:lnTo>
                <a:cubicBezTo>
                  <a:pt x="924300" y="1439924"/>
                  <a:pt x="280155" y="794001"/>
                  <a:pt x="280155" y="0"/>
                </a:cubicBezTo>
                <a:close/>
                <a:moveTo>
                  <a:pt x="373512" y="0"/>
                </a:moveTo>
                <a:lnTo>
                  <a:pt x="390502" y="0"/>
                </a:lnTo>
                <a:cubicBezTo>
                  <a:pt x="390502" y="732911"/>
                  <a:pt x="985135" y="1329184"/>
                  <a:pt x="1716029" y="1329184"/>
                </a:cubicBezTo>
                <a:lnTo>
                  <a:pt x="1716029" y="1346223"/>
                </a:lnTo>
                <a:lnTo>
                  <a:pt x="1716114" y="1346308"/>
                </a:lnTo>
                <a:cubicBezTo>
                  <a:pt x="975783" y="1346308"/>
                  <a:pt x="373512" y="742375"/>
                  <a:pt x="373512" y="0"/>
                </a:cubicBezTo>
                <a:close/>
                <a:moveTo>
                  <a:pt x="466953" y="0"/>
                </a:moveTo>
                <a:lnTo>
                  <a:pt x="483944" y="0"/>
                </a:lnTo>
                <a:cubicBezTo>
                  <a:pt x="483944" y="681286"/>
                  <a:pt x="1036704" y="1235573"/>
                  <a:pt x="1716110" y="1235573"/>
                </a:cubicBezTo>
                <a:lnTo>
                  <a:pt x="1716110" y="1252607"/>
                </a:lnTo>
                <a:cubicBezTo>
                  <a:pt x="1027347" y="1252607"/>
                  <a:pt x="466953" y="690664"/>
                  <a:pt x="466953" y="0"/>
                </a:cubicBezTo>
                <a:close/>
                <a:moveTo>
                  <a:pt x="560310" y="0"/>
                </a:moveTo>
                <a:lnTo>
                  <a:pt x="577297" y="0"/>
                </a:lnTo>
                <a:cubicBezTo>
                  <a:pt x="577297" y="629660"/>
                  <a:pt x="1088188" y="1141957"/>
                  <a:pt x="1716109" y="1141957"/>
                </a:cubicBezTo>
                <a:lnTo>
                  <a:pt x="1716109" y="1158991"/>
                </a:lnTo>
                <a:cubicBezTo>
                  <a:pt x="1078835" y="1158991"/>
                  <a:pt x="560310" y="639038"/>
                  <a:pt x="560310" y="0"/>
                </a:cubicBezTo>
                <a:close/>
                <a:moveTo>
                  <a:pt x="653668" y="0"/>
                </a:moveTo>
                <a:lnTo>
                  <a:pt x="670655" y="0"/>
                </a:lnTo>
                <a:cubicBezTo>
                  <a:pt x="670655" y="578035"/>
                  <a:pt x="1139586" y="1048255"/>
                  <a:pt x="1716029" y="1048255"/>
                </a:cubicBezTo>
                <a:lnTo>
                  <a:pt x="1716029" y="1065294"/>
                </a:lnTo>
                <a:lnTo>
                  <a:pt x="1716114" y="1065380"/>
                </a:lnTo>
                <a:cubicBezTo>
                  <a:pt x="1130319" y="1065380"/>
                  <a:pt x="653668" y="587499"/>
                  <a:pt x="653668" y="0"/>
                </a:cubicBezTo>
                <a:close/>
                <a:moveTo>
                  <a:pt x="747112" y="0"/>
                </a:moveTo>
                <a:lnTo>
                  <a:pt x="764104" y="0"/>
                </a:lnTo>
                <a:cubicBezTo>
                  <a:pt x="764104" y="526409"/>
                  <a:pt x="1191155" y="954644"/>
                  <a:pt x="1716115" y="954644"/>
                </a:cubicBezTo>
                <a:lnTo>
                  <a:pt x="1716115" y="971678"/>
                </a:lnTo>
                <a:cubicBezTo>
                  <a:pt x="1181802" y="971678"/>
                  <a:pt x="747112" y="535787"/>
                  <a:pt x="747112" y="0"/>
                </a:cubicBezTo>
                <a:close/>
                <a:moveTo>
                  <a:pt x="840465" y="0"/>
                </a:moveTo>
                <a:lnTo>
                  <a:pt x="857452" y="0"/>
                </a:lnTo>
                <a:cubicBezTo>
                  <a:pt x="857452" y="474783"/>
                  <a:pt x="1242638" y="861028"/>
                  <a:pt x="1716109" y="861028"/>
                </a:cubicBezTo>
                <a:lnTo>
                  <a:pt x="1716109" y="878062"/>
                </a:lnTo>
                <a:cubicBezTo>
                  <a:pt x="1233281" y="878062"/>
                  <a:pt x="840465" y="484162"/>
                  <a:pt x="840465" y="0"/>
                </a:cubicBezTo>
                <a:close/>
                <a:moveTo>
                  <a:pt x="933823" y="0"/>
                </a:moveTo>
                <a:lnTo>
                  <a:pt x="950810" y="0"/>
                </a:lnTo>
                <a:cubicBezTo>
                  <a:pt x="950810" y="423157"/>
                  <a:pt x="1294121" y="767327"/>
                  <a:pt x="1716114" y="767327"/>
                </a:cubicBezTo>
                <a:lnTo>
                  <a:pt x="1716114" y="784366"/>
                </a:lnTo>
                <a:lnTo>
                  <a:pt x="1716114" y="784451"/>
                </a:lnTo>
                <a:cubicBezTo>
                  <a:pt x="1284769" y="784451"/>
                  <a:pt x="933823" y="432536"/>
                  <a:pt x="933823" y="0"/>
                </a:cubicBezTo>
                <a:close/>
                <a:moveTo>
                  <a:pt x="1027262" y="0"/>
                </a:moveTo>
                <a:lnTo>
                  <a:pt x="1044254" y="0"/>
                </a:lnTo>
                <a:cubicBezTo>
                  <a:pt x="1044254" y="371532"/>
                  <a:pt x="1345685" y="673716"/>
                  <a:pt x="1716110" y="673716"/>
                </a:cubicBezTo>
                <a:lnTo>
                  <a:pt x="1716110" y="690750"/>
                </a:lnTo>
                <a:cubicBezTo>
                  <a:pt x="1336248" y="690750"/>
                  <a:pt x="1027262" y="380824"/>
                  <a:pt x="1027262" y="0"/>
                </a:cubicBezTo>
                <a:close/>
                <a:moveTo>
                  <a:pt x="1120625" y="0"/>
                </a:moveTo>
                <a:lnTo>
                  <a:pt x="1137612" y="0"/>
                </a:lnTo>
                <a:cubicBezTo>
                  <a:pt x="1137612" y="319820"/>
                  <a:pt x="1397088" y="580100"/>
                  <a:pt x="1716115" y="580100"/>
                </a:cubicBezTo>
                <a:lnTo>
                  <a:pt x="1716115" y="597134"/>
                </a:lnTo>
                <a:cubicBezTo>
                  <a:pt x="1387736" y="597134"/>
                  <a:pt x="1120625" y="329285"/>
                  <a:pt x="1120625" y="0"/>
                </a:cubicBezTo>
                <a:close/>
                <a:moveTo>
                  <a:pt x="1213978" y="0"/>
                </a:moveTo>
                <a:lnTo>
                  <a:pt x="1230965" y="0"/>
                </a:lnTo>
                <a:cubicBezTo>
                  <a:pt x="1230965" y="268195"/>
                  <a:pt x="1448571" y="486398"/>
                  <a:pt x="1716109" y="486398"/>
                </a:cubicBezTo>
                <a:lnTo>
                  <a:pt x="1716109" y="503437"/>
                </a:lnTo>
                <a:lnTo>
                  <a:pt x="1716109" y="503523"/>
                </a:lnTo>
                <a:cubicBezTo>
                  <a:pt x="1439214" y="503523"/>
                  <a:pt x="1213978" y="277659"/>
                  <a:pt x="1213978" y="0"/>
                </a:cubicBezTo>
                <a:close/>
                <a:moveTo>
                  <a:pt x="1307422" y="0"/>
                </a:moveTo>
                <a:lnTo>
                  <a:pt x="1324414" y="0"/>
                </a:lnTo>
                <a:cubicBezTo>
                  <a:pt x="1324414" y="216569"/>
                  <a:pt x="1500141" y="392784"/>
                  <a:pt x="1716115" y="392784"/>
                </a:cubicBezTo>
                <a:lnTo>
                  <a:pt x="1716115" y="409821"/>
                </a:lnTo>
                <a:cubicBezTo>
                  <a:pt x="1490703" y="409821"/>
                  <a:pt x="1307422" y="225948"/>
                  <a:pt x="1307422" y="0"/>
                </a:cubicBezTo>
                <a:close/>
                <a:moveTo>
                  <a:pt x="1400775" y="0"/>
                </a:moveTo>
                <a:lnTo>
                  <a:pt x="1417762" y="0"/>
                </a:lnTo>
                <a:cubicBezTo>
                  <a:pt x="1417762" y="164944"/>
                  <a:pt x="1551619" y="299170"/>
                  <a:pt x="1716109" y="299170"/>
                </a:cubicBezTo>
                <a:lnTo>
                  <a:pt x="1716109" y="316207"/>
                </a:lnTo>
                <a:cubicBezTo>
                  <a:pt x="1542266" y="316207"/>
                  <a:pt x="1400775" y="174322"/>
                  <a:pt x="1400775" y="0"/>
                </a:cubicBezTo>
                <a:close/>
                <a:moveTo>
                  <a:pt x="1494133" y="0"/>
                </a:moveTo>
                <a:lnTo>
                  <a:pt x="1511120" y="0"/>
                </a:lnTo>
                <a:cubicBezTo>
                  <a:pt x="1511120" y="113318"/>
                  <a:pt x="1603017" y="205556"/>
                  <a:pt x="1716109" y="205556"/>
                </a:cubicBezTo>
                <a:lnTo>
                  <a:pt x="1716109" y="222592"/>
                </a:lnTo>
                <a:cubicBezTo>
                  <a:pt x="1593750" y="222592"/>
                  <a:pt x="1494133" y="122783"/>
                  <a:pt x="1494133" y="0"/>
                </a:cubicBezTo>
                <a:close/>
              </a:path>
            </a:pathLst>
          </a:custGeom>
          <a:solidFill>
            <a:schemeClr val="bg1">
              <a:alpha val="99000"/>
            </a:schemeClr>
          </a:solidFill>
          <a:ln w="4723" cap="flat">
            <a:noFill/>
            <a:prstDash val="solid"/>
            <a:miter/>
          </a:ln>
        </p:spPr>
        <p:txBody>
          <a:bodyPr rtlCol="0" anchor="ctr"/>
          <a:lstStyle/>
          <a:p>
            <a:endParaRPr lang="en-US" dirty="0"/>
          </a:p>
        </p:txBody>
      </p:sp>
      <p:sp>
        <p:nvSpPr>
          <p:cNvPr id="15" name="Image 5" descr="preencoded.png">
            <a:extLst>
              <a:ext uri="{FF2B5EF4-FFF2-40B4-BE49-F238E27FC236}">
                <a16:creationId xmlns:a16="http://schemas.microsoft.com/office/drawing/2014/main" id="{D9D7EB49-4BC9-040F-C4CC-5771C5FB312B}"/>
              </a:ext>
            </a:extLst>
          </p:cNvPr>
          <p:cNvSpPr/>
          <p:nvPr userDrawn="1"/>
        </p:nvSpPr>
        <p:spPr>
          <a:xfrm>
            <a:off x="-5568" y="3440504"/>
            <a:ext cx="3443288" cy="3448050"/>
          </a:xfrm>
          <a:custGeom>
            <a:avLst/>
            <a:gdLst>
              <a:gd name="connsiteX0" fmla="*/ 1721644 w 3443288"/>
              <a:gd name="connsiteY0" fmla="*/ 3448051 h 3448050"/>
              <a:gd name="connsiteX1" fmla="*/ 3443288 w 3443288"/>
              <a:gd name="connsiteY1" fmla="*/ 1724025 h 3448050"/>
              <a:gd name="connsiteX2" fmla="*/ 1721644 w 3443288"/>
              <a:gd name="connsiteY2" fmla="*/ 0 h 3448050"/>
              <a:gd name="connsiteX3" fmla="*/ 0 w 3443288"/>
              <a:gd name="connsiteY3" fmla="*/ 1724025 h 3448050"/>
              <a:gd name="connsiteX4" fmla="*/ 1721644 w 3443288"/>
              <a:gd name="connsiteY4" fmla="*/ 3448051 h 3448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3288" h="3448050">
                <a:moveTo>
                  <a:pt x="1721644" y="3448051"/>
                </a:moveTo>
                <a:cubicBezTo>
                  <a:pt x="2672482" y="3448051"/>
                  <a:pt x="3443288" y="2676178"/>
                  <a:pt x="3443288" y="1724025"/>
                </a:cubicBezTo>
                <a:cubicBezTo>
                  <a:pt x="3443288" y="771873"/>
                  <a:pt x="2672482" y="0"/>
                  <a:pt x="1721644" y="0"/>
                </a:cubicBezTo>
                <a:cubicBezTo>
                  <a:pt x="770806" y="0"/>
                  <a:pt x="0" y="771873"/>
                  <a:pt x="0" y="1724025"/>
                </a:cubicBezTo>
                <a:cubicBezTo>
                  <a:pt x="0" y="2676178"/>
                  <a:pt x="770806" y="3448051"/>
                  <a:pt x="1721644" y="3448051"/>
                </a:cubicBezTo>
                <a:close/>
              </a:path>
            </a:pathLst>
          </a:custGeom>
          <a:solidFill>
            <a:schemeClr val="accent6"/>
          </a:solidFill>
          <a:ln w="4756" cap="flat">
            <a:noFill/>
            <a:prstDash val="solid"/>
            <a:miter/>
          </a:ln>
        </p:spPr>
        <p:txBody>
          <a:bodyPr rtlCol="0" anchor="ctr">
            <a:noAutofit/>
          </a:bodyPr>
          <a:lstStyle/>
          <a:p>
            <a:endParaRPr lang="en-US" dirty="0"/>
          </a:p>
        </p:txBody>
      </p:sp>
      <p:pic>
        <p:nvPicPr>
          <p:cNvPr id="17" name="Image 6" descr="preencoded.png">
            <a:extLst>
              <a:ext uri="{FF2B5EF4-FFF2-40B4-BE49-F238E27FC236}">
                <a16:creationId xmlns:a16="http://schemas.microsoft.com/office/drawing/2014/main" id="{3CE04498-C285-EFB8-340C-1A064078152B}"/>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xmlns="" r:embed="rId5"/>
              </a:ext>
            </a:extLst>
          </a:blip>
          <a:srcRect/>
          <a:stretch/>
        </p:blipFill>
        <p:spPr>
          <a:xfrm>
            <a:off x="1718457" y="3440504"/>
            <a:ext cx="1719263" cy="1724025"/>
          </a:xfrm>
          <a:prstGeom prst="rect">
            <a:avLst/>
          </a:prstGeom>
        </p:spPr>
      </p:pic>
      <p:sp>
        <p:nvSpPr>
          <p:cNvPr id="6" name="Footer Placeholder 5"/>
          <p:cNvSpPr>
            <a:spLocks noGrp="1"/>
          </p:cNvSpPr>
          <p:nvPr>
            <p:ph type="ftr" sz="quarter" idx="11"/>
          </p:nvPr>
        </p:nvSpPr>
        <p:spPr/>
        <p:txBody>
          <a:bodyPr/>
          <a:lstStyle/>
          <a:p>
            <a:r>
              <a:rPr lang="en-US"/>
              <a:t>Presentation title</a:t>
            </a:r>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
        <p:nvSpPr>
          <p:cNvPr id="18" name="Title 19">
            <a:extLst>
              <a:ext uri="{FF2B5EF4-FFF2-40B4-BE49-F238E27FC236}">
                <a16:creationId xmlns:a16="http://schemas.microsoft.com/office/drawing/2014/main" id="{9CBE0ADC-7FA0-F7E3-96EF-BBACB6A9076E}"/>
              </a:ext>
            </a:extLst>
          </p:cNvPr>
          <p:cNvSpPr>
            <a:spLocks noGrp="1"/>
          </p:cNvSpPr>
          <p:nvPr>
            <p:ph type="title"/>
          </p:nvPr>
        </p:nvSpPr>
        <p:spPr>
          <a:xfrm>
            <a:off x="3986784" y="1243584"/>
            <a:ext cx="8165592" cy="768096"/>
          </a:xfrm>
        </p:spPr>
        <p:txBody>
          <a:bodyPr>
            <a:noAutofit/>
          </a:bodyPr>
          <a:lstStyle>
            <a:lvl1pPr algn="l">
              <a:lnSpc>
                <a:spcPct val="100000"/>
              </a:lnSpc>
              <a:defRPr/>
            </a:lvl1pPr>
          </a:lstStyle>
          <a:p>
            <a:r>
              <a:rPr lang="en-US" dirty="0"/>
              <a:t>Click to edit Master title style</a:t>
            </a:r>
          </a:p>
        </p:txBody>
      </p:sp>
      <p:sp>
        <p:nvSpPr>
          <p:cNvPr id="19" name="Content Placeholder 3">
            <a:extLst>
              <a:ext uri="{FF2B5EF4-FFF2-40B4-BE49-F238E27FC236}">
                <a16:creationId xmlns:a16="http://schemas.microsoft.com/office/drawing/2014/main" id="{0F9C0517-D83A-CC55-35B8-B2F990C96D30}"/>
              </a:ext>
            </a:extLst>
          </p:cNvPr>
          <p:cNvSpPr>
            <a:spLocks noGrp="1"/>
          </p:cNvSpPr>
          <p:nvPr>
            <p:ph sz="half" idx="2"/>
          </p:nvPr>
        </p:nvSpPr>
        <p:spPr>
          <a:xfrm>
            <a:off x="3685032" y="2255520"/>
            <a:ext cx="3741928" cy="4306380"/>
          </a:xfrm>
        </p:spPr>
        <p:txBody>
          <a:bodyPr lIns="45720" rIns="45720" bIns="45720">
            <a:noAutofit/>
          </a:bodyPr>
          <a:lstStyle>
            <a:lvl1pPr>
              <a:defRPr sz="1500"/>
            </a:lvl1pPr>
            <a:lvl2pPr>
              <a:defRPr sz="13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5">
            <a:extLst>
              <a:ext uri="{FF2B5EF4-FFF2-40B4-BE49-F238E27FC236}">
                <a16:creationId xmlns:a16="http://schemas.microsoft.com/office/drawing/2014/main" id="{CF8BFBBE-0EAE-B647-2648-A5FB0094BF6B}"/>
              </a:ext>
            </a:extLst>
          </p:cNvPr>
          <p:cNvSpPr>
            <a:spLocks noGrp="1"/>
          </p:cNvSpPr>
          <p:nvPr>
            <p:ph sz="quarter" idx="4"/>
          </p:nvPr>
        </p:nvSpPr>
        <p:spPr>
          <a:xfrm>
            <a:off x="7754112" y="2255520"/>
            <a:ext cx="3741928" cy="4306380"/>
          </a:xfrm>
        </p:spPr>
        <p:txBody>
          <a:bodyPr lIns="45720" rIns="45720" bIns="45720">
            <a:noAutofit/>
          </a:bodyPr>
          <a:lstStyle>
            <a:lvl1pPr>
              <a:defRPr sz="1500"/>
            </a:lvl1pPr>
            <a:lvl2pPr>
              <a:defRPr sz="13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88462158"/>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7" name="Freeform: Shape 6">
            <a:extLst>
              <a:ext uri="{FF2B5EF4-FFF2-40B4-BE49-F238E27FC236}">
                <a16:creationId xmlns:a16="http://schemas.microsoft.com/office/drawing/2014/main" id="{2C6B5F91-ABF5-D0B6-E43F-40CEDC3A6DF8}"/>
              </a:ext>
            </a:extLst>
          </p:cNvPr>
          <p:cNvSpPr/>
          <p:nvPr userDrawn="1"/>
        </p:nvSpPr>
        <p:spPr>
          <a:xfrm>
            <a:off x="1" y="0"/>
            <a:ext cx="2242827" cy="2102966"/>
          </a:xfrm>
          <a:custGeom>
            <a:avLst/>
            <a:gdLst>
              <a:gd name="connsiteX0" fmla="*/ 2220549 w 2242827"/>
              <a:gd name="connsiteY0" fmla="*/ 0 h 2102966"/>
              <a:gd name="connsiteX1" fmla="*/ 2242827 w 2242827"/>
              <a:gd name="connsiteY1" fmla="*/ 0 h 2102966"/>
              <a:gd name="connsiteX2" fmla="*/ 2238641 w 2242827"/>
              <a:gd name="connsiteY2" fmla="*/ 82607 h 2102966"/>
              <a:gd name="connsiteX3" fmla="*/ 1 w 2242827"/>
              <a:gd name="connsiteY3" fmla="*/ 2102966 h 2102966"/>
              <a:gd name="connsiteX4" fmla="*/ 1 w 2242827"/>
              <a:gd name="connsiteY4" fmla="*/ 2080690 h 2102966"/>
              <a:gd name="connsiteX5" fmla="*/ 2216479 w 2242827"/>
              <a:gd name="connsiteY5" fmla="*/ 80336 h 2102966"/>
              <a:gd name="connsiteX6" fmla="*/ 2098030 w 2242827"/>
              <a:gd name="connsiteY6" fmla="*/ 0 h 2102966"/>
              <a:gd name="connsiteX7" fmla="*/ 2120412 w 2242827"/>
              <a:gd name="connsiteY7" fmla="*/ 0 h 2102966"/>
              <a:gd name="connsiteX8" fmla="*/ 2116859 w 2242827"/>
              <a:gd name="connsiteY8" fmla="*/ 70117 h 2102966"/>
              <a:gd name="connsiteX9" fmla="*/ 1 w 2242827"/>
              <a:gd name="connsiteY9" fmla="*/ 1980571 h 2102966"/>
              <a:gd name="connsiteX10" fmla="*/ 1 w 2242827"/>
              <a:gd name="connsiteY10" fmla="*/ 1958295 h 2102966"/>
              <a:gd name="connsiteX11" fmla="*/ 2094588 w 2242827"/>
              <a:gd name="connsiteY11" fmla="*/ 67938 h 2102966"/>
              <a:gd name="connsiteX12" fmla="*/ 1975608 w 2242827"/>
              <a:gd name="connsiteY12" fmla="*/ 0 h 2102966"/>
              <a:gd name="connsiteX13" fmla="*/ 1997887 w 2242827"/>
              <a:gd name="connsiteY13" fmla="*/ 0 h 2102966"/>
              <a:gd name="connsiteX14" fmla="*/ 1994968 w 2242827"/>
              <a:gd name="connsiteY14" fmla="*/ 57611 h 2102966"/>
              <a:gd name="connsiteX15" fmla="*/ 1 w 2242827"/>
              <a:gd name="connsiteY15" fmla="*/ 1858047 h 2102966"/>
              <a:gd name="connsiteX16" fmla="*/ 1 w 2242827"/>
              <a:gd name="connsiteY16" fmla="*/ 1835771 h 2102966"/>
              <a:gd name="connsiteX17" fmla="*/ 1972805 w 2242827"/>
              <a:gd name="connsiteY17" fmla="*/ 55322 h 2102966"/>
              <a:gd name="connsiteX18" fmla="*/ 1853193 w 2242827"/>
              <a:gd name="connsiteY18" fmla="*/ 0 h 2102966"/>
              <a:gd name="connsiteX19" fmla="*/ 1875472 w 2242827"/>
              <a:gd name="connsiteY19" fmla="*/ 0 h 2102966"/>
              <a:gd name="connsiteX20" fmla="*/ 1873186 w 2242827"/>
              <a:gd name="connsiteY20" fmla="*/ 45119 h 2102966"/>
              <a:gd name="connsiteX21" fmla="*/ 0 w 2242827"/>
              <a:gd name="connsiteY21" fmla="*/ 1735650 h 2102966"/>
              <a:gd name="connsiteX22" fmla="*/ 0 w 2242827"/>
              <a:gd name="connsiteY22" fmla="*/ 1713374 h 2102966"/>
              <a:gd name="connsiteX23" fmla="*/ 1851022 w 2242827"/>
              <a:gd name="connsiteY23" fmla="*/ 42848 h 2102966"/>
              <a:gd name="connsiteX24" fmla="*/ 1730668 w 2242827"/>
              <a:gd name="connsiteY24" fmla="*/ 0 h 2102966"/>
              <a:gd name="connsiteX25" fmla="*/ 1753056 w 2242827"/>
              <a:gd name="connsiteY25" fmla="*/ 0 h 2102966"/>
              <a:gd name="connsiteX26" fmla="*/ 1751404 w 2242827"/>
              <a:gd name="connsiteY26" fmla="*/ 32610 h 2102966"/>
              <a:gd name="connsiteX27" fmla="*/ 0 w 2242827"/>
              <a:gd name="connsiteY27" fmla="*/ 1613232 h 2102966"/>
              <a:gd name="connsiteX28" fmla="*/ 0 w 2242827"/>
              <a:gd name="connsiteY28" fmla="*/ 1590961 h 2102966"/>
              <a:gd name="connsiteX29" fmla="*/ 1729127 w 2242827"/>
              <a:gd name="connsiteY29" fmla="*/ 30432 h 2102966"/>
              <a:gd name="connsiteX30" fmla="*/ 1608247 w 2242827"/>
              <a:gd name="connsiteY30" fmla="*/ 0 h 2102966"/>
              <a:gd name="connsiteX31" fmla="*/ 1630525 w 2242827"/>
              <a:gd name="connsiteY31" fmla="*/ 0 h 2102966"/>
              <a:gd name="connsiteX32" fmla="*/ 1629507 w 2242827"/>
              <a:gd name="connsiteY32" fmla="*/ 20086 h 2102966"/>
              <a:gd name="connsiteX33" fmla="*/ 0 w 2242827"/>
              <a:gd name="connsiteY33" fmla="*/ 1490712 h 2102966"/>
              <a:gd name="connsiteX34" fmla="*/ 0 w 2242827"/>
              <a:gd name="connsiteY34" fmla="*/ 1468436 h 2102966"/>
              <a:gd name="connsiteX35" fmla="*/ 1607345 w 2242827"/>
              <a:gd name="connsiteY35" fmla="*/ 17816 h 2102966"/>
              <a:gd name="connsiteX36" fmla="*/ 1485833 w 2242827"/>
              <a:gd name="connsiteY36" fmla="*/ 0 h 2102966"/>
              <a:gd name="connsiteX37" fmla="*/ 1508109 w 2242827"/>
              <a:gd name="connsiteY37" fmla="*/ 0 h 2102966"/>
              <a:gd name="connsiteX38" fmla="*/ 1507724 w 2242827"/>
              <a:gd name="connsiteY38" fmla="*/ 7596 h 2102966"/>
              <a:gd name="connsiteX39" fmla="*/ 0 w 2242827"/>
              <a:gd name="connsiteY39" fmla="*/ 1368317 h 2102966"/>
              <a:gd name="connsiteX40" fmla="*/ 0 w 2242827"/>
              <a:gd name="connsiteY40" fmla="*/ 1346041 h 2102966"/>
              <a:gd name="connsiteX41" fmla="*/ 1485563 w 2242827"/>
              <a:gd name="connsiteY41" fmla="*/ 5325 h 2102966"/>
              <a:gd name="connsiteX42" fmla="*/ 1362591 w 2242827"/>
              <a:gd name="connsiteY42" fmla="*/ 0 h 2102966"/>
              <a:gd name="connsiteX43" fmla="*/ 1385194 w 2242827"/>
              <a:gd name="connsiteY43" fmla="*/ 0 h 2102966"/>
              <a:gd name="connsiteX44" fmla="*/ 1364797 w 2242827"/>
              <a:gd name="connsiteY44" fmla="*/ 133264 h 2102966"/>
              <a:gd name="connsiteX45" fmla="*/ 0 w 2242827"/>
              <a:gd name="connsiteY45" fmla="*/ 1245917 h 2102966"/>
              <a:gd name="connsiteX46" fmla="*/ 0 w 2242827"/>
              <a:gd name="connsiteY46" fmla="*/ 1223641 h 2102966"/>
              <a:gd name="connsiteX47" fmla="*/ 1342864 w 2242827"/>
              <a:gd name="connsiteY47" fmla="*/ 128894 h 2102966"/>
              <a:gd name="connsiteX48" fmla="*/ 1238878 w 2242827"/>
              <a:gd name="connsiteY48" fmla="*/ 0 h 2102966"/>
              <a:gd name="connsiteX49" fmla="*/ 1261388 w 2242827"/>
              <a:gd name="connsiteY49" fmla="*/ 0 h 2102966"/>
              <a:gd name="connsiteX50" fmla="*/ 1244763 w 2242827"/>
              <a:gd name="connsiteY50" fmla="*/ 108614 h 2102966"/>
              <a:gd name="connsiteX51" fmla="*/ 0 w 2242827"/>
              <a:gd name="connsiteY51" fmla="*/ 1123397 h 2102966"/>
              <a:gd name="connsiteX52" fmla="*/ 0 w 2242827"/>
              <a:gd name="connsiteY52" fmla="*/ 1101121 h 2102966"/>
              <a:gd name="connsiteX53" fmla="*/ 1222940 w 2242827"/>
              <a:gd name="connsiteY53" fmla="*/ 104135 h 2102966"/>
              <a:gd name="connsiteX54" fmla="*/ 1115178 w 2242827"/>
              <a:gd name="connsiteY54" fmla="*/ 0 h 2102966"/>
              <a:gd name="connsiteX55" fmla="*/ 1137688 w 2242827"/>
              <a:gd name="connsiteY55" fmla="*/ 0 h 2102966"/>
              <a:gd name="connsiteX56" fmla="*/ 1124836 w 2242827"/>
              <a:gd name="connsiteY56" fmla="*/ 83962 h 2102966"/>
              <a:gd name="connsiteX57" fmla="*/ 0 w 2242827"/>
              <a:gd name="connsiteY57" fmla="*/ 1000978 h 2102966"/>
              <a:gd name="connsiteX58" fmla="*/ 0 w 2242827"/>
              <a:gd name="connsiteY58" fmla="*/ 978703 h 2102966"/>
              <a:gd name="connsiteX59" fmla="*/ 1103012 w 2242827"/>
              <a:gd name="connsiteY59" fmla="*/ 79485 h 2102966"/>
              <a:gd name="connsiteX60" fmla="*/ 991375 w 2242827"/>
              <a:gd name="connsiteY60" fmla="*/ 0 h 2102966"/>
              <a:gd name="connsiteX61" fmla="*/ 1013997 w 2242827"/>
              <a:gd name="connsiteY61" fmla="*/ 0 h 2102966"/>
              <a:gd name="connsiteX62" fmla="*/ 1004915 w 2242827"/>
              <a:gd name="connsiteY62" fmla="*/ 59331 h 2102966"/>
              <a:gd name="connsiteX63" fmla="*/ 0 w 2242827"/>
              <a:gd name="connsiteY63" fmla="*/ 878583 h 2102966"/>
              <a:gd name="connsiteX64" fmla="*/ 0 w 2242827"/>
              <a:gd name="connsiteY64" fmla="*/ 856307 h 2102966"/>
              <a:gd name="connsiteX65" fmla="*/ 982981 w 2242827"/>
              <a:gd name="connsiteY65" fmla="*/ 54853 h 2102966"/>
              <a:gd name="connsiteX66" fmla="*/ 866108 w 2242827"/>
              <a:gd name="connsiteY66" fmla="*/ 0 h 2102966"/>
              <a:gd name="connsiteX67" fmla="*/ 888384 w 2242827"/>
              <a:gd name="connsiteY67" fmla="*/ 0 h 2102966"/>
              <a:gd name="connsiteX68" fmla="*/ 884876 w 2242827"/>
              <a:gd name="connsiteY68" fmla="*/ 34680 h 2102966"/>
              <a:gd name="connsiteX69" fmla="*/ 0 w 2242827"/>
              <a:gd name="connsiteY69" fmla="*/ 756058 h 2102966"/>
              <a:gd name="connsiteX70" fmla="*/ 0 w 2242827"/>
              <a:gd name="connsiteY70" fmla="*/ 733782 h 2102966"/>
              <a:gd name="connsiteX71" fmla="*/ 863057 w 2242827"/>
              <a:gd name="connsiteY71" fmla="*/ 30169 h 2102966"/>
              <a:gd name="connsiteX72" fmla="*/ 743692 w 2242827"/>
              <a:gd name="connsiteY72" fmla="*/ 0 h 2102966"/>
              <a:gd name="connsiteX73" fmla="*/ 765973 w 2242827"/>
              <a:gd name="connsiteY73" fmla="*/ 0 h 2102966"/>
              <a:gd name="connsiteX74" fmla="*/ 764957 w 2242827"/>
              <a:gd name="connsiteY74" fmla="*/ 10048 h 2102966"/>
              <a:gd name="connsiteX75" fmla="*/ 0 w 2242827"/>
              <a:gd name="connsiteY75" fmla="*/ 633662 h 2102966"/>
              <a:gd name="connsiteX76" fmla="*/ 0 w 2242827"/>
              <a:gd name="connsiteY76" fmla="*/ 611386 h 2102966"/>
              <a:gd name="connsiteX77" fmla="*/ 743129 w 2242827"/>
              <a:gd name="connsiteY77" fmla="*/ 5570 h 2102966"/>
              <a:gd name="connsiteX78" fmla="*/ 617163 w 2242827"/>
              <a:gd name="connsiteY78" fmla="*/ 0 h 2102966"/>
              <a:gd name="connsiteX79" fmla="*/ 640489 w 2242827"/>
              <a:gd name="connsiteY79" fmla="*/ 0 h 2102966"/>
              <a:gd name="connsiteX80" fmla="*/ 606611 w 2242827"/>
              <a:gd name="connsiteY80" fmla="*/ 108906 h 2102966"/>
              <a:gd name="connsiteX81" fmla="*/ 0 w 2242827"/>
              <a:gd name="connsiteY81" fmla="*/ 511248 h 2102966"/>
              <a:gd name="connsiteX82" fmla="*/ 0 w 2242827"/>
              <a:gd name="connsiteY82" fmla="*/ 488972 h 2102966"/>
              <a:gd name="connsiteX83" fmla="*/ 585980 w 2242827"/>
              <a:gd name="connsiteY83" fmla="*/ 100252 h 2102966"/>
              <a:gd name="connsiteX84" fmla="*/ 489561 w 2242827"/>
              <a:gd name="connsiteY84" fmla="*/ 0 h 2102966"/>
              <a:gd name="connsiteX85" fmla="*/ 512789 w 2242827"/>
              <a:gd name="connsiteY85" fmla="*/ 0 h 2102966"/>
              <a:gd name="connsiteX86" fmla="*/ 493721 w 2242827"/>
              <a:gd name="connsiteY86" fmla="*/ 61289 h 2102966"/>
              <a:gd name="connsiteX87" fmla="*/ 0 w 2242827"/>
              <a:gd name="connsiteY87" fmla="*/ 388735 h 2102966"/>
              <a:gd name="connsiteX88" fmla="*/ 0 w 2242827"/>
              <a:gd name="connsiteY88" fmla="*/ 366459 h 2102966"/>
              <a:gd name="connsiteX89" fmla="*/ 473199 w 2242827"/>
              <a:gd name="connsiteY89" fmla="*/ 52587 h 2102966"/>
              <a:gd name="connsiteX90" fmla="*/ 361966 w 2242827"/>
              <a:gd name="connsiteY90" fmla="*/ 0 h 2102966"/>
              <a:gd name="connsiteX91" fmla="*/ 385181 w 2242827"/>
              <a:gd name="connsiteY91" fmla="*/ 0 h 2102966"/>
              <a:gd name="connsiteX92" fmla="*/ 380937 w 2242827"/>
              <a:gd name="connsiteY92" fmla="*/ 13636 h 2102966"/>
              <a:gd name="connsiteX93" fmla="*/ 0 w 2242827"/>
              <a:gd name="connsiteY93" fmla="*/ 266328 h 2102966"/>
              <a:gd name="connsiteX94" fmla="*/ 0 w 2242827"/>
              <a:gd name="connsiteY94" fmla="*/ 244052 h 2102966"/>
              <a:gd name="connsiteX95" fmla="*/ 360416 w 2242827"/>
              <a:gd name="connsiteY95" fmla="*/ 4982 h 2102966"/>
              <a:gd name="connsiteX96" fmla="*/ 218905 w 2242827"/>
              <a:gd name="connsiteY96" fmla="*/ 0 h 2102966"/>
              <a:gd name="connsiteX97" fmla="*/ 249720 w 2242827"/>
              <a:gd name="connsiteY97" fmla="*/ 0 h 2102966"/>
              <a:gd name="connsiteX98" fmla="*/ 241311 w 2242827"/>
              <a:gd name="connsiteY98" fmla="*/ 15475 h 2102966"/>
              <a:gd name="connsiteX99" fmla="*/ 0 w 2242827"/>
              <a:gd name="connsiteY99" fmla="*/ 143932 h 2102966"/>
              <a:gd name="connsiteX100" fmla="*/ 0 w 2242827"/>
              <a:gd name="connsiteY100" fmla="*/ 121656 h 2102966"/>
              <a:gd name="connsiteX101" fmla="*/ 189966 w 2242827"/>
              <a:gd name="connsiteY101" fmla="*/ 42875 h 2102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2242827" h="2102966">
                <a:moveTo>
                  <a:pt x="2220549" y="0"/>
                </a:moveTo>
                <a:lnTo>
                  <a:pt x="2242827" y="0"/>
                </a:lnTo>
                <a:lnTo>
                  <a:pt x="2238641" y="82607"/>
                </a:lnTo>
                <a:cubicBezTo>
                  <a:pt x="2123193" y="1215807"/>
                  <a:pt x="1163255" y="2102966"/>
                  <a:pt x="1" y="2102966"/>
                </a:cubicBezTo>
                <a:lnTo>
                  <a:pt x="1" y="2080690"/>
                </a:lnTo>
                <a:cubicBezTo>
                  <a:pt x="1151759" y="2080690"/>
                  <a:pt x="2102176" y="1202330"/>
                  <a:pt x="2216479" y="80336"/>
                </a:cubicBezTo>
                <a:close/>
                <a:moveTo>
                  <a:pt x="2098030" y="0"/>
                </a:moveTo>
                <a:lnTo>
                  <a:pt x="2120412" y="0"/>
                </a:lnTo>
                <a:lnTo>
                  <a:pt x="2116859" y="70117"/>
                </a:lnTo>
                <a:cubicBezTo>
                  <a:pt x="2007691" y="1141666"/>
                  <a:pt x="1099966" y="1980571"/>
                  <a:pt x="1" y="1980571"/>
                </a:cubicBezTo>
                <a:lnTo>
                  <a:pt x="1" y="1958295"/>
                </a:lnTo>
                <a:cubicBezTo>
                  <a:pt x="1088470" y="1958295"/>
                  <a:pt x="1986577" y="1128187"/>
                  <a:pt x="2094588" y="67938"/>
                </a:cubicBezTo>
                <a:close/>
                <a:moveTo>
                  <a:pt x="1975608" y="0"/>
                </a:moveTo>
                <a:lnTo>
                  <a:pt x="1997887" y="0"/>
                </a:lnTo>
                <a:lnTo>
                  <a:pt x="1994968" y="57611"/>
                </a:lnTo>
                <a:cubicBezTo>
                  <a:pt x="1892090" y="1067493"/>
                  <a:pt x="1036676" y="1858047"/>
                  <a:pt x="1" y="1858047"/>
                </a:cubicBezTo>
                <a:lnTo>
                  <a:pt x="1" y="1835771"/>
                </a:lnTo>
                <a:cubicBezTo>
                  <a:pt x="1025181" y="1835771"/>
                  <a:pt x="1871073" y="1053919"/>
                  <a:pt x="1972805" y="55322"/>
                </a:cubicBezTo>
                <a:close/>
                <a:moveTo>
                  <a:pt x="1853193" y="0"/>
                </a:moveTo>
                <a:lnTo>
                  <a:pt x="1875472" y="0"/>
                </a:lnTo>
                <a:lnTo>
                  <a:pt x="1873186" y="45119"/>
                </a:lnTo>
                <a:cubicBezTo>
                  <a:pt x="1776588" y="993350"/>
                  <a:pt x="973388" y="1735650"/>
                  <a:pt x="0" y="1735650"/>
                </a:cubicBezTo>
                <a:lnTo>
                  <a:pt x="0" y="1713374"/>
                </a:lnTo>
                <a:cubicBezTo>
                  <a:pt x="961784" y="1713374"/>
                  <a:pt x="1755557" y="979877"/>
                  <a:pt x="1851022" y="42848"/>
                </a:cubicBezTo>
                <a:close/>
                <a:moveTo>
                  <a:pt x="1730668" y="0"/>
                </a:moveTo>
                <a:lnTo>
                  <a:pt x="1753056" y="0"/>
                </a:lnTo>
                <a:lnTo>
                  <a:pt x="1751404" y="32610"/>
                </a:lnTo>
                <a:cubicBezTo>
                  <a:pt x="1661086" y="919190"/>
                  <a:pt x="910098" y="1613232"/>
                  <a:pt x="0" y="1613232"/>
                </a:cubicBezTo>
                <a:lnTo>
                  <a:pt x="0" y="1590961"/>
                </a:lnTo>
                <a:cubicBezTo>
                  <a:pt x="898495" y="1590961"/>
                  <a:pt x="1639954" y="905712"/>
                  <a:pt x="1729127" y="30432"/>
                </a:cubicBezTo>
                <a:close/>
                <a:moveTo>
                  <a:pt x="1608247" y="0"/>
                </a:moveTo>
                <a:lnTo>
                  <a:pt x="1630525" y="0"/>
                </a:lnTo>
                <a:lnTo>
                  <a:pt x="1629507" y="20086"/>
                </a:lnTo>
                <a:cubicBezTo>
                  <a:pt x="1545469" y="844919"/>
                  <a:pt x="846701" y="1490712"/>
                  <a:pt x="0" y="1490712"/>
                </a:cubicBezTo>
                <a:lnTo>
                  <a:pt x="0" y="1468436"/>
                </a:lnTo>
                <a:cubicBezTo>
                  <a:pt x="835206" y="1468436"/>
                  <a:pt x="1524451" y="831445"/>
                  <a:pt x="1607345" y="17816"/>
                </a:cubicBezTo>
                <a:close/>
                <a:moveTo>
                  <a:pt x="1485833" y="0"/>
                </a:moveTo>
                <a:lnTo>
                  <a:pt x="1508109" y="0"/>
                </a:lnTo>
                <a:lnTo>
                  <a:pt x="1507724" y="7596"/>
                </a:lnTo>
                <a:cubicBezTo>
                  <a:pt x="1429966" y="770778"/>
                  <a:pt x="783416" y="1368317"/>
                  <a:pt x="0" y="1368317"/>
                </a:cubicBezTo>
                <a:lnTo>
                  <a:pt x="0" y="1346041"/>
                </a:lnTo>
                <a:cubicBezTo>
                  <a:pt x="771917" y="1346041"/>
                  <a:pt x="1408949" y="757304"/>
                  <a:pt x="1485563" y="5325"/>
                </a:cubicBezTo>
                <a:close/>
                <a:moveTo>
                  <a:pt x="1362591" y="0"/>
                </a:moveTo>
                <a:lnTo>
                  <a:pt x="1385194" y="0"/>
                </a:lnTo>
                <a:lnTo>
                  <a:pt x="1364797" y="133264"/>
                </a:lnTo>
                <a:cubicBezTo>
                  <a:pt x="1234684" y="767432"/>
                  <a:pt x="672215" y="1245917"/>
                  <a:pt x="0" y="1245917"/>
                </a:cubicBezTo>
                <a:lnTo>
                  <a:pt x="0" y="1223641"/>
                </a:lnTo>
                <a:cubicBezTo>
                  <a:pt x="661385" y="1223641"/>
                  <a:pt x="1214835" y="752908"/>
                  <a:pt x="1342864" y="128894"/>
                </a:cubicBezTo>
                <a:close/>
                <a:moveTo>
                  <a:pt x="1238878" y="0"/>
                </a:moveTo>
                <a:lnTo>
                  <a:pt x="1261388" y="0"/>
                </a:lnTo>
                <a:lnTo>
                  <a:pt x="1244763" y="108614"/>
                </a:lnTo>
                <a:cubicBezTo>
                  <a:pt x="1126083" y="687031"/>
                  <a:pt x="613049" y="1123397"/>
                  <a:pt x="0" y="1123397"/>
                </a:cubicBezTo>
                <a:lnTo>
                  <a:pt x="0" y="1101121"/>
                </a:lnTo>
                <a:cubicBezTo>
                  <a:pt x="602316" y="1101121"/>
                  <a:pt x="1106344" y="672419"/>
                  <a:pt x="1222940" y="104135"/>
                </a:cubicBezTo>
                <a:close/>
                <a:moveTo>
                  <a:pt x="1115178" y="0"/>
                </a:moveTo>
                <a:lnTo>
                  <a:pt x="1137688" y="0"/>
                </a:lnTo>
                <a:lnTo>
                  <a:pt x="1124836" y="83962"/>
                </a:lnTo>
                <a:cubicBezTo>
                  <a:pt x="1017592" y="606647"/>
                  <a:pt x="553979" y="1000978"/>
                  <a:pt x="0" y="1000978"/>
                </a:cubicBezTo>
                <a:lnTo>
                  <a:pt x="0" y="978703"/>
                </a:lnTo>
                <a:cubicBezTo>
                  <a:pt x="543246" y="978703"/>
                  <a:pt x="997852" y="592039"/>
                  <a:pt x="1103012" y="79485"/>
                </a:cubicBezTo>
                <a:close/>
                <a:moveTo>
                  <a:pt x="991375" y="0"/>
                </a:moveTo>
                <a:lnTo>
                  <a:pt x="1013997" y="0"/>
                </a:lnTo>
                <a:lnTo>
                  <a:pt x="1004915" y="59331"/>
                </a:lnTo>
                <a:cubicBezTo>
                  <a:pt x="909100" y="526286"/>
                  <a:pt x="494909" y="878583"/>
                  <a:pt x="0" y="878583"/>
                </a:cubicBezTo>
                <a:lnTo>
                  <a:pt x="0" y="856307"/>
                </a:lnTo>
                <a:cubicBezTo>
                  <a:pt x="484176" y="856307"/>
                  <a:pt x="889272" y="511676"/>
                  <a:pt x="982981" y="54853"/>
                </a:cubicBezTo>
                <a:close/>
                <a:moveTo>
                  <a:pt x="866108" y="0"/>
                </a:moveTo>
                <a:lnTo>
                  <a:pt x="888384" y="0"/>
                </a:lnTo>
                <a:lnTo>
                  <a:pt x="884876" y="34680"/>
                </a:lnTo>
                <a:cubicBezTo>
                  <a:pt x="800495" y="445883"/>
                  <a:pt x="435739" y="756058"/>
                  <a:pt x="0" y="756058"/>
                </a:cubicBezTo>
                <a:lnTo>
                  <a:pt x="0" y="733782"/>
                </a:lnTo>
                <a:cubicBezTo>
                  <a:pt x="425107" y="733782"/>
                  <a:pt x="780781" y="431187"/>
                  <a:pt x="863057" y="30169"/>
                </a:cubicBezTo>
                <a:close/>
                <a:moveTo>
                  <a:pt x="743692" y="0"/>
                </a:moveTo>
                <a:lnTo>
                  <a:pt x="765973" y="0"/>
                </a:lnTo>
                <a:lnTo>
                  <a:pt x="764957" y="10048"/>
                </a:lnTo>
                <a:cubicBezTo>
                  <a:pt x="692029" y="365521"/>
                  <a:pt x="376767" y="633662"/>
                  <a:pt x="0" y="633662"/>
                </a:cubicBezTo>
                <a:lnTo>
                  <a:pt x="0" y="611386"/>
                </a:lnTo>
                <a:cubicBezTo>
                  <a:pt x="365938" y="611386"/>
                  <a:pt x="672265" y="350911"/>
                  <a:pt x="743129" y="5570"/>
                </a:cubicBezTo>
                <a:close/>
                <a:moveTo>
                  <a:pt x="617163" y="0"/>
                </a:moveTo>
                <a:lnTo>
                  <a:pt x="640489" y="0"/>
                </a:lnTo>
                <a:lnTo>
                  <a:pt x="606611" y="108906"/>
                </a:lnTo>
                <a:cubicBezTo>
                  <a:pt x="506524" y="345128"/>
                  <a:pt x="272312" y="511248"/>
                  <a:pt x="0" y="511248"/>
                </a:cubicBezTo>
                <a:lnTo>
                  <a:pt x="0" y="488972"/>
                </a:lnTo>
                <a:cubicBezTo>
                  <a:pt x="263030" y="488972"/>
                  <a:pt x="489290" y="328485"/>
                  <a:pt x="585980" y="100252"/>
                </a:cubicBezTo>
                <a:close/>
                <a:moveTo>
                  <a:pt x="489561" y="0"/>
                </a:moveTo>
                <a:lnTo>
                  <a:pt x="512789" y="0"/>
                </a:lnTo>
                <a:lnTo>
                  <a:pt x="493721" y="61289"/>
                </a:lnTo>
                <a:cubicBezTo>
                  <a:pt x="412246" y="253561"/>
                  <a:pt x="221597" y="388735"/>
                  <a:pt x="0" y="388735"/>
                </a:cubicBezTo>
                <a:lnTo>
                  <a:pt x="0" y="366459"/>
                </a:lnTo>
                <a:cubicBezTo>
                  <a:pt x="212399" y="366459"/>
                  <a:pt x="395116" y="236854"/>
                  <a:pt x="473199" y="52587"/>
                </a:cubicBezTo>
                <a:close/>
                <a:moveTo>
                  <a:pt x="361966" y="0"/>
                </a:moveTo>
                <a:lnTo>
                  <a:pt x="385181" y="0"/>
                </a:lnTo>
                <a:lnTo>
                  <a:pt x="380937" y="13636"/>
                </a:lnTo>
                <a:cubicBezTo>
                  <a:pt x="318070" y="161973"/>
                  <a:pt x="170965" y="266328"/>
                  <a:pt x="0" y="266328"/>
                </a:cubicBezTo>
                <a:lnTo>
                  <a:pt x="0" y="244052"/>
                </a:lnTo>
                <a:cubicBezTo>
                  <a:pt x="161767" y="244052"/>
                  <a:pt x="300940" y="145329"/>
                  <a:pt x="360416" y="4982"/>
                </a:cubicBezTo>
                <a:close/>
                <a:moveTo>
                  <a:pt x="218905" y="0"/>
                </a:moveTo>
                <a:lnTo>
                  <a:pt x="249720" y="0"/>
                </a:lnTo>
                <a:lnTo>
                  <a:pt x="241311" y="15475"/>
                </a:lnTo>
                <a:cubicBezTo>
                  <a:pt x="188962" y="92909"/>
                  <a:pt x="100349" y="143932"/>
                  <a:pt x="0" y="143932"/>
                </a:cubicBezTo>
                <a:lnTo>
                  <a:pt x="0" y="121656"/>
                </a:lnTo>
                <a:cubicBezTo>
                  <a:pt x="74091" y="121656"/>
                  <a:pt x="141290" y="91533"/>
                  <a:pt x="189966" y="42875"/>
                </a:cubicBezTo>
                <a:close/>
              </a:path>
            </a:pathLst>
          </a:custGeom>
          <a:solidFill>
            <a:schemeClr val="accent3">
              <a:lumMod val="20000"/>
              <a:lumOff val="80000"/>
            </a:schemeClr>
          </a:solidFill>
          <a:ln w="458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dirty="0">
              <a:solidFill>
                <a:schemeClr val="tx1"/>
              </a:solidFill>
            </a:endParaRPr>
          </a:p>
        </p:txBody>
      </p:sp>
      <p:sp>
        <p:nvSpPr>
          <p:cNvPr id="9" name="Freeform: Shape 8">
            <a:extLst>
              <a:ext uri="{FF2B5EF4-FFF2-40B4-BE49-F238E27FC236}">
                <a16:creationId xmlns:a16="http://schemas.microsoft.com/office/drawing/2014/main" id="{A52D64F1-27B6-A1E5-4F44-A6029FAB307B}"/>
              </a:ext>
            </a:extLst>
          </p:cNvPr>
          <p:cNvSpPr/>
          <p:nvPr userDrawn="1"/>
        </p:nvSpPr>
        <p:spPr>
          <a:xfrm flipH="1" flipV="1">
            <a:off x="9949173" y="4755034"/>
            <a:ext cx="2242827" cy="2102966"/>
          </a:xfrm>
          <a:custGeom>
            <a:avLst/>
            <a:gdLst>
              <a:gd name="connsiteX0" fmla="*/ 2220549 w 2242827"/>
              <a:gd name="connsiteY0" fmla="*/ 0 h 2102966"/>
              <a:gd name="connsiteX1" fmla="*/ 2242827 w 2242827"/>
              <a:gd name="connsiteY1" fmla="*/ 0 h 2102966"/>
              <a:gd name="connsiteX2" fmla="*/ 2238641 w 2242827"/>
              <a:gd name="connsiteY2" fmla="*/ 82607 h 2102966"/>
              <a:gd name="connsiteX3" fmla="*/ 1 w 2242827"/>
              <a:gd name="connsiteY3" fmla="*/ 2102966 h 2102966"/>
              <a:gd name="connsiteX4" fmla="*/ 1 w 2242827"/>
              <a:gd name="connsiteY4" fmla="*/ 2080690 h 2102966"/>
              <a:gd name="connsiteX5" fmla="*/ 2216479 w 2242827"/>
              <a:gd name="connsiteY5" fmla="*/ 80336 h 2102966"/>
              <a:gd name="connsiteX6" fmla="*/ 2098030 w 2242827"/>
              <a:gd name="connsiteY6" fmla="*/ 0 h 2102966"/>
              <a:gd name="connsiteX7" fmla="*/ 2120412 w 2242827"/>
              <a:gd name="connsiteY7" fmla="*/ 0 h 2102966"/>
              <a:gd name="connsiteX8" fmla="*/ 2116859 w 2242827"/>
              <a:gd name="connsiteY8" fmla="*/ 70117 h 2102966"/>
              <a:gd name="connsiteX9" fmla="*/ 1 w 2242827"/>
              <a:gd name="connsiteY9" fmla="*/ 1980571 h 2102966"/>
              <a:gd name="connsiteX10" fmla="*/ 1 w 2242827"/>
              <a:gd name="connsiteY10" fmla="*/ 1958295 h 2102966"/>
              <a:gd name="connsiteX11" fmla="*/ 2094588 w 2242827"/>
              <a:gd name="connsiteY11" fmla="*/ 67938 h 2102966"/>
              <a:gd name="connsiteX12" fmla="*/ 1975608 w 2242827"/>
              <a:gd name="connsiteY12" fmla="*/ 0 h 2102966"/>
              <a:gd name="connsiteX13" fmla="*/ 1997887 w 2242827"/>
              <a:gd name="connsiteY13" fmla="*/ 0 h 2102966"/>
              <a:gd name="connsiteX14" fmla="*/ 1994968 w 2242827"/>
              <a:gd name="connsiteY14" fmla="*/ 57611 h 2102966"/>
              <a:gd name="connsiteX15" fmla="*/ 1 w 2242827"/>
              <a:gd name="connsiteY15" fmla="*/ 1858047 h 2102966"/>
              <a:gd name="connsiteX16" fmla="*/ 1 w 2242827"/>
              <a:gd name="connsiteY16" fmla="*/ 1835771 h 2102966"/>
              <a:gd name="connsiteX17" fmla="*/ 1972805 w 2242827"/>
              <a:gd name="connsiteY17" fmla="*/ 55322 h 2102966"/>
              <a:gd name="connsiteX18" fmla="*/ 1853193 w 2242827"/>
              <a:gd name="connsiteY18" fmla="*/ 0 h 2102966"/>
              <a:gd name="connsiteX19" fmla="*/ 1875472 w 2242827"/>
              <a:gd name="connsiteY19" fmla="*/ 0 h 2102966"/>
              <a:gd name="connsiteX20" fmla="*/ 1873186 w 2242827"/>
              <a:gd name="connsiteY20" fmla="*/ 45119 h 2102966"/>
              <a:gd name="connsiteX21" fmla="*/ 0 w 2242827"/>
              <a:gd name="connsiteY21" fmla="*/ 1735650 h 2102966"/>
              <a:gd name="connsiteX22" fmla="*/ 0 w 2242827"/>
              <a:gd name="connsiteY22" fmla="*/ 1713374 h 2102966"/>
              <a:gd name="connsiteX23" fmla="*/ 1851022 w 2242827"/>
              <a:gd name="connsiteY23" fmla="*/ 42848 h 2102966"/>
              <a:gd name="connsiteX24" fmla="*/ 1730668 w 2242827"/>
              <a:gd name="connsiteY24" fmla="*/ 0 h 2102966"/>
              <a:gd name="connsiteX25" fmla="*/ 1753056 w 2242827"/>
              <a:gd name="connsiteY25" fmla="*/ 0 h 2102966"/>
              <a:gd name="connsiteX26" fmla="*/ 1751404 w 2242827"/>
              <a:gd name="connsiteY26" fmla="*/ 32610 h 2102966"/>
              <a:gd name="connsiteX27" fmla="*/ 0 w 2242827"/>
              <a:gd name="connsiteY27" fmla="*/ 1613232 h 2102966"/>
              <a:gd name="connsiteX28" fmla="*/ 0 w 2242827"/>
              <a:gd name="connsiteY28" fmla="*/ 1590961 h 2102966"/>
              <a:gd name="connsiteX29" fmla="*/ 1729127 w 2242827"/>
              <a:gd name="connsiteY29" fmla="*/ 30432 h 2102966"/>
              <a:gd name="connsiteX30" fmla="*/ 1608247 w 2242827"/>
              <a:gd name="connsiteY30" fmla="*/ 0 h 2102966"/>
              <a:gd name="connsiteX31" fmla="*/ 1630525 w 2242827"/>
              <a:gd name="connsiteY31" fmla="*/ 0 h 2102966"/>
              <a:gd name="connsiteX32" fmla="*/ 1629507 w 2242827"/>
              <a:gd name="connsiteY32" fmla="*/ 20086 h 2102966"/>
              <a:gd name="connsiteX33" fmla="*/ 0 w 2242827"/>
              <a:gd name="connsiteY33" fmla="*/ 1490712 h 2102966"/>
              <a:gd name="connsiteX34" fmla="*/ 0 w 2242827"/>
              <a:gd name="connsiteY34" fmla="*/ 1468436 h 2102966"/>
              <a:gd name="connsiteX35" fmla="*/ 1607345 w 2242827"/>
              <a:gd name="connsiteY35" fmla="*/ 17816 h 2102966"/>
              <a:gd name="connsiteX36" fmla="*/ 1485833 w 2242827"/>
              <a:gd name="connsiteY36" fmla="*/ 0 h 2102966"/>
              <a:gd name="connsiteX37" fmla="*/ 1508109 w 2242827"/>
              <a:gd name="connsiteY37" fmla="*/ 0 h 2102966"/>
              <a:gd name="connsiteX38" fmla="*/ 1507724 w 2242827"/>
              <a:gd name="connsiteY38" fmla="*/ 7596 h 2102966"/>
              <a:gd name="connsiteX39" fmla="*/ 0 w 2242827"/>
              <a:gd name="connsiteY39" fmla="*/ 1368317 h 2102966"/>
              <a:gd name="connsiteX40" fmla="*/ 0 w 2242827"/>
              <a:gd name="connsiteY40" fmla="*/ 1346041 h 2102966"/>
              <a:gd name="connsiteX41" fmla="*/ 1485563 w 2242827"/>
              <a:gd name="connsiteY41" fmla="*/ 5325 h 2102966"/>
              <a:gd name="connsiteX42" fmla="*/ 1362591 w 2242827"/>
              <a:gd name="connsiteY42" fmla="*/ 0 h 2102966"/>
              <a:gd name="connsiteX43" fmla="*/ 1385194 w 2242827"/>
              <a:gd name="connsiteY43" fmla="*/ 0 h 2102966"/>
              <a:gd name="connsiteX44" fmla="*/ 1364797 w 2242827"/>
              <a:gd name="connsiteY44" fmla="*/ 133264 h 2102966"/>
              <a:gd name="connsiteX45" fmla="*/ 0 w 2242827"/>
              <a:gd name="connsiteY45" fmla="*/ 1245917 h 2102966"/>
              <a:gd name="connsiteX46" fmla="*/ 0 w 2242827"/>
              <a:gd name="connsiteY46" fmla="*/ 1223641 h 2102966"/>
              <a:gd name="connsiteX47" fmla="*/ 1342864 w 2242827"/>
              <a:gd name="connsiteY47" fmla="*/ 128894 h 2102966"/>
              <a:gd name="connsiteX48" fmla="*/ 1238878 w 2242827"/>
              <a:gd name="connsiteY48" fmla="*/ 0 h 2102966"/>
              <a:gd name="connsiteX49" fmla="*/ 1261388 w 2242827"/>
              <a:gd name="connsiteY49" fmla="*/ 0 h 2102966"/>
              <a:gd name="connsiteX50" fmla="*/ 1244763 w 2242827"/>
              <a:gd name="connsiteY50" fmla="*/ 108614 h 2102966"/>
              <a:gd name="connsiteX51" fmla="*/ 0 w 2242827"/>
              <a:gd name="connsiteY51" fmla="*/ 1123397 h 2102966"/>
              <a:gd name="connsiteX52" fmla="*/ 0 w 2242827"/>
              <a:gd name="connsiteY52" fmla="*/ 1101121 h 2102966"/>
              <a:gd name="connsiteX53" fmla="*/ 1222940 w 2242827"/>
              <a:gd name="connsiteY53" fmla="*/ 104135 h 2102966"/>
              <a:gd name="connsiteX54" fmla="*/ 1115178 w 2242827"/>
              <a:gd name="connsiteY54" fmla="*/ 0 h 2102966"/>
              <a:gd name="connsiteX55" fmla="*/ 1137688 w 2242827"/>
              <a:gd name="connsiteY55" fmla="*/ 0 h 2102966"/>
              <a:gd name="connsiteX56" fmla="*/ 1124836 w 2242827"/>
              <a:gd name="connsiteY56" fmla="*/ 83962 h 2102966"/>
              <a:gd name="connsiteX57" fmla="*/ 0 w 2242827"/>
              <a:gd name="connsiteY57" fmla="*/ 1000978 h 2102966"/>
              <a:gd name="connsiteX58" fmla="*/ 0 w 2242827"/>
              <a:gd name="connsiteY58" fmla="*/ 978703 h 2102966"/>
              <a:gd name="connsiteX59" fmla="*/ 1103012 w 2242827"/>
              <a:gd name="connsiteY59" fmla="*/ 79485 h 2102966"/>
              <a:gd name="connsiteX60" fmla="*/ 991375 w 2242827"/>
              <a:gd name="connsiteY60" fmla="*/ 0 h 2102966"/>
              <a:gd name="connsiteX61" fmla="*/ 1013997 w 2242827"/>
              <a:gd name="connsiteY61" fmla="*/ 0 h 2102966"/>
              <a:gd name="connsiteX62" fmla="*/ 1004915 w 2242827"/>
              <a:gd name="connsiteY62" fmla="*/ 59331 h 2102966"/>
              <a:gd name="connsiteX63" fmla="*/ 0 w 2242827"/>
              <a:gd name="connsiteY63" fmla="*/ 878583 h 2102966"/>
              <a:gd name="connsiteX64" fmla="*/ 0 w 2242827"/>
              <a:gd name="connsiteY64" fmla="*/ 856307 h 2102966"/>
              <a:gd name="connsiteX65" fmla="*/ 982981 w 2242827"/>
              <a:gd name="connsiteY65" fmla="*/ 54853 h 2102966"/>
              <a:gd name="connsiteX66" fmla="*/ 866108 w 2242827"/>
              <a:gd name="connsiteY66" fmla="*/ 0 h 2102966"/>
              <a:gd name="connsiteX67" fmla="*/ 888384 w 2242827"/>
              <a:gd name="connsiteY67" fmla="*/ 0 h 2102966"/>
              <a:gd name="connsiteX68" fmla="*/ 884876 w 2242827"/>
              <a:gd name="connsiteY68" fmla="*/ 34680 h 2102966"/>
              <a:gd name="connsiteX69" fmla="*/ 0 w 2242827"/>
              <a:gd name="connsiteY69" fmla="*/ 756058 h 2102966"/>
              <a:gd name="connsiteX70" fmla="*/ 0 w 2242827"/>
              <a:gd name="connsiteY70" fmla="*/ 733782 h 2102966"/>
              <a:gd name="connsiteX71" fmla="*/ 863057 w 2242827"/>
              <a:gd name="connsiteY71" fmla="*/ 30169 h 2102966"/>
              <a:gd name="connsiteX72" fmla="*/ 743692 w 2242827"/>
              <a:gd name="connsiteY72" fmla="*/ 0 h 2102966"/>
              <a:gd name="connsiteX73" fmla="*/ 765973 w 2242827"/>
              <a:gd name="connsiteY73" fmla="*/ 0 h 2102966"/>
              <a:gd name="connsiteX74" fmla="*/ 764957 w 2242827"/>
              <a:gd name="connsiteY74" fmla="*/ 10048 h 2102966"/>
              <a:gd name="connsiteX75" fmla="*/ 0 w 2242827"/>
              <a:gd name="connsiteY75" fmla="*/ 633662 h 2102966"/>
              <a:gd name="connsiteX76" fmla="*/ 0 w 2242827"/>
              <a:gd name="connsiteY76" fmla="*/ 611386 h 2102966"/>
              <a:gd name="connsiteX77" fmla="*/ 743129 w 2242827"/>
              <a:gd name="connsiteY77" fmla="*/ 5570 h 2102966"/>
              <a:gd name="connsiteX78" fmla="*/ 617163 w 2242827"/>
              <a:gd name="connsiteY78" fmla="*/ 0 h 2102966"/>
              <a:gd name="connsiteX79" fmla="*/ 640489 w 2242827"/>
              <a:gd name="connsiteY79" fmla="*/ 0 h 2102966"/>
              <a:gd name="connsiteX80" fmla="*/ 606611 w 2242827"/>
              <a:gd name="connsiteY80" fmla="*/ 108906 h 2102966"/>
              <a:gd name="connsiteX81" fmla="*/ 0 w 2242827"/>
              <a:gd name="connsiteY81" fmla="*/ 511248 h 2102966"/>
              <a:gd name="connsiteX82" fmla="*/ 0 w 2242827"/>
              <a:gd name="connsiteY82" fmla="*/ 488972 h 2102966"/>
              <a:gd name="connsiteX83" fmla="*/ 585980 w 2242827"/>
              <a:gd name="connsiteY83" fmla="*/ 100252 h 2102966"/>
              <a:gd name="connsiteX84" fmla="*/ 489561 w 2242827"/>
              <a:gd name="connsiteY84" fmla="*/ 0 h 2102966"/>
              <a:gd name="connsiteX85" fmla="*/ 512789 w 2242827"/>
              <a:gd name="connsiteY85" fmla="*/ 0 h 2102966"/>
              <a:gd name="connsiteX86" fmla="*/ 493721 w 2242827"/>
              <a:gd name="connsiteY86" fmla="*/ 61289 h 2102966"/>
              <a:gd name="connsiteX87" fmla="*/ 0 w 2242827"/>
              <a:gd name="connsiteY87" fmla="*/ 388735 h 2102966"/>
              <a:gd name="connsiteX88" fmla="*/ 0 w 2242827"/>
              <a:gd name="connsiteY88" fmla="*/ 366459 h 2102966"/>
              <a:gd name="connsiteX89" fmla="*/ 473199 w 2242827"/>
              <a:gd name="connsiteY89" fmla="*/ 52587 h 2102966"/>
              <a:gd name="connsiteX90" fmla="*/ 361966 w 2242827"/>
              <a:gd name="connsiteY90" fmla="*/ 0 h 2102966"/>
              <a:gd name="connsiteX91" fmla="*/ 385181 w 2242827"/>
              <a:gd name="connsiteY91" fmla="*/ 0 h 2102966"/>
              <a:gd name="connsiteX92" fmla="*/ 380937 w 2242827"/>
              <a:gd name="connsiteY92" fmla="*/ 13636 h 2102966"/>
              <a:gd name="connsiteX93" fmla="*/ 0 w 2242827"/>
              <a:gd name="connsiteY93" fmla="*/ 266328 h 2102966"/>
              <a:gd name="connsiteX94" fmla="*/ 0 w 2242827"/>
              <a:gd name="connsiteY94" fmla="*/ 244052 h 2102966"/>
              <a:gd name="connsiteX95" fmla="*/ 360416 w 2242827"/>
              <a:gd name="connsiteY95" fmla="*/ 4982 h 2102966"/>
              <a:gd name="connsiteX96" fmla="*/ 218905 w 2242827"/>
              <a:gd name="connsiteY96" fmla="*/ 0 h 2102966"/>
              <a:gd name="connsiteX97" fmla="*/ 249720 w 2242827"/>
              <a:gd name="connsiteY97" fmla="*/ 0 h 2102966"/>
              <a:gd name="connsiteX98" fmla="*/ 241311 w 2242827"/>
              <a:gd name="connsiteY98" fmla="*/ 15475 h 2102966"/>
              <a:gd name="connsiteX99" fmla="*/ 0 w 2242827"/>
              <a:gd name="connsiteY99" fmla="*/ 143932 h 2102966"/>
              <a:gd name="connsiteX100" fmla="*/ 0 w 2242827"/>
              <a:gd name="connsiteY100" fmla="*/ 121656 h 2102966"/>
              <a:gd name="connsiteX101" fmla="*/ 189966 w 2242827"/>
              <a:gd name="connsiteY101" fmla="*/ 42875 h 2102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2242827" h="2102966">
                <a:moveTo>
                  <a:pt x="2220549" y="0"/>
                </a:moveTo>
                <a:lnTo>
                  <a:pt x="2242827" y="0"/>
                </a:lnTo>
                <a:lnTo>
                  <a:pt x="2238641" y="82607"/>
                </a:lnTo>
                <a:cubicBezTo>
                  <a:pt x="2123193" y="1215807"/>
                  <a:pt x="1163255" y="2102966"/>
                  <a:pt x="1" y="2102966"/>
                </a:cubicBezTo>
                <a:lnTo>
                  <a:pt x="1" y="2080690"/>
                </a:lnTo>
                <a:cubicBezTo>
                  <a:pt x="1151759" y="2080690"/>
                  <a:pt x="2102176" y="1202330"/>
                  <a:pt x="2216479" y="80336"/>
                </a:cubicBezTo>
                <a:close/>
                <a:moveTo>
                  <a:pt x="2098030" y="0"/>
                </a:moveTo>
                <a:lnTo>
                  <a:pt x="2120412" y="0"/>
                </a:lnTo>
                <a:lnTo>
                  <a:pt x="2116859" y="70117"/>
                </a:lnTo>
                <a:cubicBezTo>
                  <a:pt x="2007691" y="1141666"/>
                  <a:pt x="1099966" y="1980571"/>
                  <a:pt x="1" y="1980571"/>
                </a:cubicBezTo>
                <a:lnTo>
                  <a:pt x="1" y="1958295"/>
                </a:lnTo>
                <a:cubicBezTo>
                  <a:pt x="1088470" y="1958295"/>
                  <a:pt x="1986577" y="1128187"/>
                  <a:pt x="2094588" y="67938"/>
                </a:cubicBezTo>
                <a:close/>
                <a:moveTo>
                  <a:pt x="1975608" y="0"/>
                </a:moveTo>
                <a:lnTo>
                  <a:pt x="1997887" y="0"/>
                </a:lnTo>
                <a:lnTo>
                  <a:pt x="1994968" y="57611"/>
                </a:lnTo>
                <a:cubicBezTo>
                  <a:pt x="1892090" y="1067493"/>
                  <a:pt x="1036676" y="1858047"/>
                  <a:pt x="1" y="1858047"/>
                </a:cubicBezTo>
                <a:lnTo>
                  <a:pt x="1" y="1835771"/>
                </a:lnTo>
                <a:cubicBezTo>
                  <a:pt x="1025181" y="1835771"/>
                  <a:pt x="1871073" y="1053919"/>
                  <a:pt x="1972805" y="55322"/>
                </a:cubicBezTo>
                <a:close/>
                <a:moveTo>
                  <a:pt x="1853193" y="0"/>
                </a:moveTo>
                <a:lnTo>
                  <a:pt x="1875472" y="0"/>
                </a:lnTo>
                <a:lnTo>
                  <a:pt x="1873186" y="45119"/>
                </a:lnTo>
                <a:cubicBezTo>
                  <a:pt x="1776588" y="993350"/>
                  <a:pt x="973388" y="1735650"/>
                  <a:pt x="0" y="1735650"/>
                </a:cubicBezTo>
                <a:lnTo>
                  <a:pt x="0" y="1713374"/>
                </a:lnTo>
                <a:cubicBezTo>
                  <a:pt x="961784" y="1713374"/>
                  <a:pt x="1755557" y="979877"/>
                  <a:pt x="1851022" y="42848"/>
                </a:cubicBezTo>
                <a:close/>
                <a:moveTo>
                  <a:pt x="1730668" y="0"/>
                </a:moveTo>
                <a:lnTo>
                  <a:pt x="1753056" y="0"/>
                </a:lnTo>
                <a:lnTo>
                  <a:pt x="1751404" y="32610"/>
                </a:lnTo>
                <a:cubicBezTo>
                  <a:pt x="1661086" y="919190"/>
                  <a:pt x="910098" y="1613232"/>
                  <a:pt x="0" y="1613232"/>
                </a:cubicBezTo>
                <a:lnTo>
                  <a:pt x="0" y="1590961"/>
                </a:lnTo>
                <a:cubicBezTo>
                  <a:pt x="898495" y="1590961"/>
                  <a:pt x="1639954" y="905712"/>
                  <a:pt x="1729127" y="30432"/>
                </a:cubicBezTo>
                <a:close/>
                <a:moveTo>
                  <a:pt x="1608247" y="0"/>
                </a:moveTo>
                <a:lnTo>
                  <a:pt x="1630525" y="0"/>
                </a:lnTo>
                <a:lnTo>
                  <a:pt x="1629507" y="20086"/>
                </a:lnTo>
                <a:cubicBezTo>
                  <a:pt x="1545469" y="844919"/>
                  <a:pt x="846701" y="1490712"/>
                  <a:pt x="0" y="1490712"/>
                </a:cubicBezTo>
                <a:lnTo>
                  <a:pt x="0" y="1468436"/>
                </a:lnTo>
                <a:cubicBezTo>
                  <a:pt x="835206" y="1468436"/>
                  <a:pt x="1524451" y="831445"/>
                  <a:pt x="1607345" y="17816"/>
                </a:cubicBezTo>
                <a:close/>
                <a:moveTo>
                  <a:pt x="1485833" y="0"/>
                </a:moveTo>
                <a:lnTo>
                  <a:pt x="1508109" y="0"/>
                </a:lnTo>
                <a:lnTo>
                  <a:pt x="1507724" y="7596"/>
                </a:lnTo>
                <a:cubicBezTo>
                  <a:pt x="1429966" y="770778"/>
                  <a:pt x="783416" y="1368317"/>
                  <a:pt x="0" y="1368317"/>
                </a:cubicBezTo>
                <a:lnTo>
                  <a:pt x="0" y="1346041"/>
                </a:lnTo>
                <a:cubicBezTo>
                  <a:pt x="771917" y="1346041"/>
                  <a:pt x="1408949" y="757304"/>
                  <a:pt x="1485563" y="5325"/>
                </a:cubicBezTo>
                <a:close/>
                <a:moveTo>
                  <a:pt x="1362591" y="0"/>
                </a:moveTo>
                <a:lnTo>
                  <a:pt x="1385194" y="0"/>
                </a:lnTo>
                <a:lnTo>
                  <a:pt x="1364797" y="133264"/>
                </a:lnTo>
                <a:cubicBezTo>
                  <a:pt x="1234684" y="767432"/>
                  <a:pt x="672215" y="1245917"/>
                  <a:pt x="0" y="1245917"/>
                </a:cubicBezTo>
                <a:lnTo>
                  <a:pt x="0" y="1223641"/>
                </a:lnTo>
                <a:cubicBezTo>
                  <a:pt x="661385" y="1223641"/>
                  <a:pt x="1214835" y="752908"/>
                  <a:pt x="1342864" y="128894"/>
                </a:cubicBezTo>
                <a:close/>
                <a:moveTo>
                  <a:pt x="1238878" y="0"/>
                </a:moveTo>
                <a:lnTo>
                  <a:pt x="1261388" y="0"/>
                </a:lnTo>
                <a:lnTo>
                  <a:pt x="1244763" y="108614"/>
                </a:lnTo>
                <a:cubicBezTo>
                  <a:pt x="1126083" y="687031"/>
                  <a:pt x="613049" y="1123397"/>
                  <a:pt x="0" y="1123397"/>
                </a:cubicBezTo>
                <a:lnTo>
                  <a:pt x="0" y="1101121"/>
                </a:lnTo>
                <a:cubicBezTo>
                  <a:pt x="602316" y="1101121"/>
                  <a:pt x="1106344" y="672419"/>
                  <a:pt x="1222940" y="104135"/>
                </a:cubicBezTo>
                <a:close/>
                <a:moveTo>
                  <a:pt x="1115178" y="0"/>
                </a:moveTo>
                <a:lnTo>
                  <a:pt x="1137688" y="0"/>
                </a:lnTo>
                <a:lnTo>
                  <a:pt x="1124836" y="83962"/>
                </a:lnTo>
                <a:cubicBezTo>
                  <a:pt x="1017592" y="606647"/>
                  <a:pt x="553979" y="1000978"/>
                  <a:pt x="0" y="1000978"/>
                </a:cubicBezTo>
                <a:lnTo>
                  <a:pt x="0" y="978703"/>
                </a:lnTo>
                <a:cubicBezTo>
                  <a:pt x="543246" y="978703"/>
                  <a:pt x="997852" y="592039"/>
                  <a:pt x="1103012" y="79485"/>
                </a:cubicBezTo>
                <a:close/>
                <a:moveTo>
                  <a:pt x="991375" y="0"/>
                </a:moveTo>
                <a:lnTo>
                  <a:pt x="1013997" y="0"/>
                </a:lnTo>
                <a:lnTo>
                  <a:pt x="1004915" y="59331"/>
                </a:lnTo>
                <a:cubicBezTo>
                  <a:pt x="909100" y="526286"/>
                  <a:pt x="494909" y="878583"/>
                  <a:pt x="0" y="878583"/>
                </a:cubicBezTo>
                <a:lnTo>
                  <a:pt x="0" y="856307"/>
                </a:lnTo>
                <a:cubicBezTo>
                  <a:pt x="484176" y="856307"/>
                  <a:pt x="889272" y="511676"/>
                  <a:pt x="982981" y="54853"/>
                </a:cubicBezTo>
                <a:close/>
                <a:moveTo>
                  <a:pt x="866108" y="0"/>
                </a:moveTo>
                <a:lnTo>
                  <a:pt x="888384" y="0"/>
                </a:lnTo>
                <a:lnTo>
                  <a:pt x="884876" y="34680"/>
                </a:lnTo>
                <a:cubicBezTo>
                  <a:pt x="800495" y="445883"/>
                  <a:pt x="435739" y="756058"/>
                  <a:pt x="0" y="756058"/>
                </a:cubicBezTo>
                <a:lnTo>
                  <a:pt x="0" y="733782"/>
                </a:lnTo>
                <a:cubicBezTo>
                  <a:pt x="425107" y="733782"/>
                  <a:pt x="780781" y="431187"/>
                  <a:pt x="863057" y="30169"/>
                </a:cubicBezTo>
                <a:close/>
                <a:moveTo>
                  <a:pt x="743692" y="0"/>
                </a:moveTo>
                <a:lnTo>
                  <a:pt x="765973" y="0"/>
                </a:lnTo>
                <a:lnTo>
                  <a:pt x="764957" y="10048"/>
                </a:lnTo>
                <a:cubicBezTo>
                  <a:pt x="692029" y="365521"/>
                  <a:pt x="376767" y="633662"/>
                  <a:pt x="0" y="633662"/>
                </a:cubicBezTo>
                <a:lnTo>
                  <a:pt x="0" y="611386"/>
                </a:lnTo>
                <a:cubicBezTo>
                  <a:pt x="365938" y="611386"/>
                  <a:pt x="672265" y="350911"/>
                  <a:pt x="743129" y="5570"/>
                </a:cubicBezTo>
                <a:close/>
                <a:moveTo>
                  <a:pt x="617163" y="0"/>
                </a:moveTo>
                <a:lnTo>
                  <a:pt x="640489" y="0"/>
                </a:lnTo>
                <a:lnTo>
                  <a:pt x="606611" y="108906"/>
                </a:lnTo>
                <a:cubicBezTo>
                  <a:pt x="506524" y="345128"/>
                  <a:pt x="272312" y="511248"/>
                  <a:pt x="0" y="511248"/>
                </a:cubicBezTo>
                <a:lnTo>
                  <a:pt x="0" y="488972"/>
                </a:lnTo>
                <a:cubicBezTo>
                  <a:pt x="263030" y="488972"/>
                  <a:pt x="489290" y="328485"/>
                  <a:pt x="585980" y="100252"/>
                </a:cubicBezTo>
                <a:close/>
                <a:moveTo>
                  <a:pt x="489561" y="0"/>
                </a:moveTo>
                <a:lnTo>
                  <a:pt x="512789" y="0"/>
                </a:lnTo>
                <a:lnTo>
                  <a:pt x="493721" y="61289"/>
                </a:lnTo>
                <a:cubicBezTo>
                  <a:pt x="412246" y="253561"/>
                  <a:pt x="221597" y="388735"/>
                  <a:pt x="0" y="388735"/>
                </a:cubicBezTo>
                <a:lnTo>
                  <a:pt x="0" y="366459"/>
                </a:lnTo>
                <a:cubicBezTo>
                  <a:pt x="212399" y="366459"/>
                  <a:pt x="395116" y="236854"/>
                  <a:pt x="473199" y="52587"/>
                </a:cubicBezTo>
                <a:close/>
                <a:moveTo>
                  <a:pt x="361966" y="0"/>
                </a:moveTo>
                <a:lnTo>
                  <a:pt x="385181" y="0"/>
                </a:lnTo>
                <a:lnTo>
                  <a:pt x="380937" y="13636"/>
                </a:lnTo>
                <a:cubicBezTo>
                  <a:pt x="318070" y="161973"/>
                  <a:pt x="170965" y="266328"/>
                  <a:pt x="0" y="266328"/>
                </a:cubicBezTo>
                <a:lnTo>
                  <a:pt x="0" y="244052"/>
                </a:lnTo>
                <a:cubicBezTo>
                  <a:pt x="161767" y="244052"/>
                  <a:pt x="300940" y="145329"/>
                  <a:pt x="360416" y="4982"/>
                </a:cubicBezTo>
                <a:close/>
                <a:moveTo>
                  <a:pt x="218905" y="0"/>
                </a:moveTo>
                <a:lnTo>
                  <a:pt x="249720" y="0"/>
                </a:lnTo>
                <a:lnTo>
                  <a:pt x="241311" y="15475"/>
                </a:lnTo>
                <a:cubicBezTo>
                  <a:pt x="188962" y="92909"/>
                  <a:pt x="100349" y="143932"/>
                  <a:pt x="0" y="143932"/>
                </a:cubicBezTo>
                <a:lnTo>
                  <a:pt x="0" y="121656"/>
                </a:lnTo>
                <a:cubicBezTo>
                  <a:pt x="74091" y="121656"/>
                  <a:pt x="141290" y="91533"/>
                  <a:pt x="189966" y="42875"/>
                </a:cubicBezTo>
                <a:close/>
              </a:path>
            </a:pathLst>
          </a:custGeom>
          <a:solidFill>
            <a:schemeClr val="accent3">
              <a:lumMod val="20000"/>
              <a:lumOff val="80000"/>
            </a:schemeClr>
          </a:solidFill>
          <a:ln w="458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dirty="0">
              <a:solidFill>
                <a:schemeClr val="tx1"/>
              </a:solidFill>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r>
              <a:rPr lang="en-US"/>
              <a:t>Presentation title</a:t>
            </a:r>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25442893"/>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id="{A626DE4B-D4E5-B36A-89FA-7C0E87AFC31D}"/>
              </a:ext>
            </a:extLst>
          </p:cNvPr>
          <p:cNvSpPr/>
          <p:nvPr userDrawn="1"/>
        </p:nvSpPr>
        <p:spPr>
          <a:xfrm>
            <a:off x="1" y="0"/>
            <a:ext cx="2242827" cy="2102966"/>
          </a:xfrm>
          <a:custGeom>
            <a:avLst/>
            <a:gdLst>
              <a:gd name="connsiteX0" fmla="*/ 2220549 w 2242827"/>
              <a:gd name="connsiteY0" fmla="*/ 0 h 2102966"/>
              <a:gd name="connsiteX1" fmla="*/ 2242827 w 2242827"/>
              <a:gd name="connsiteY1" fmla="*/ 0 h 2102966"/>
              <a:gd name="connsiteX2" fmla="*/ 2238641 w 2242827"/>
              <a:gd name="connsiteY2" fmla="*/ 82607 h 2102966"/>
              <a:gd name="connsiteX3" fmla="*/ 1 w 2242827"/>
              <a:gd name="connsiteY3" fmla="*/ 2102966 h 2102966"/>
              <a:gd name="connsiteX4" fmla="*/ 1 w 2242827"/>
              <a:gd name="connsiteY4" fmla="*/ 2080690 h 2102966"/>
              <a:gd name="connsiteX5" fmla="*/ 2216479 w 2242827"/>
              <a:gd name="connsiteY5" fmla="*/ 80336 h 2102966"/>
              <a:gd name="connsiteX6" fmla="*/ 2098030 w 2242827"/>
              <a:gd name="connsiteY6" fmla="*/ 0 h 2102966"/>
              <a:gd name="connsiteX7" fmla="*/ 2120412 w 2242827"/>
              <a:gd name="connsiteY7" fmla="*/ 0 h 2102966"/>
              <a:gd name="connsiteX8" fmla="*/ 2116859 w 2242827"/>
              <a:gd name="connsiteY8" fmla="*/ 70117 h 2102966"/>
              <a:gd name="connsiteX9" fmla="*/ 1 w 2242827"/>
              <a:gd name="connsiteY9" fmla="*/ 1980571 h 2102966"/>
              <a:gd name="connsiteX10" fmla="*/ 1 w 2242827"/>
              <a:gd name="connsiteY10" fmla="*/ 1958295 h 2102966"/>
              <a:gd name="connsiteX11" fmla="*/ 2094588 w 2242827"/>
              <a:gd name="connsiteY11" fmla="*/ 67938 h 2102966"/>
              <a:gd name="connsiteX12" fmla="*/ 1975608 w 2242827"/>
              <a:gd name="connsiteY12" fmla="*/ 0 h 2102966"/>
              <a:gd name="connsiteX13" fmla="*/ 1997887 w 2242827"/>
              <a:gd name="connsiteY13" fmla="*/ 0 h 2102966"/>
              <a:gd name="connsiteX14" fmla="*/ 1994968 w 2242827"/>
              <a:gd name="connsiteY14" fmla="*/ 57611 h 2102966"/>
              <a:gd name="connsiteX15" fmla="*/ 1 w 2242827"/>
              <a:gd name="connsiteY15" fmla="*/ 1858047 h 2102966"/>
              <a:gd name="connsiteX16" fmla="*/ 1 w 2242827"/>
              <a:gd name="connsiteY16" fmla="*/ 1835771 h 2102966"/>
              <a:gd name="connsiteX17" fmla="*/ 1972805 w 2242827"/>
              <a:gd name="connsiteY17" fmla="*/ 55322 h 2102966"/>
              <a:gd name="connsiteX18" fmla="*/ 1853193 w 2242827"/>
              <a:gd name="connsiteY18" fmla="*/ 0 h 2102966"/>
              <a:gd name="connsiteX19" fmla="*/ 1875472 w 2242827"/>
              <a:gd name="connsiteY19" fmla="*/ 0 h 2102966"/>
              <a:gd name="connsiteX20" fmla="*/ 1873186 w 2242827"/>
              <a:gd name="connsiteY20" fmla="*/ 45119 h 2102966"/>
              <a:gd name="connsiteX21" fmla="*/ 0 w 2242827"/>
              <a:gd name="connsiteY21" fmla="*/ 1735650 h 2102966"/>
              <a:gd name="connsiteX22" fmla="*/ 0 w 2242827"/>
              <a:gd name="connsiteY22" fmla="*/ 1713374 h 2102966"/>
              <a:gd name="connsiteX23" fmla="*/ 1851022 w 2242827"/>
              <a:gd name="connsiteY23" fmla="*/ 42848 h 2102966"/>
              <a:gd name="connsiteX24" fmla="*/ 1730668 w 2242827"/>
              <a:gd name="connsiteY24" fmla="*/ 0 h 2102966"/>
              <a:gd name="connsiteX25" fmla="*/ 1753056 w 2242827"/>
              <a:gd name="connsiteY25" fmla="*/ 0 h 2102966"/>
              <a:gd name="connsiteX26" fmla="*/ 1751404 w 2242827"/>
              <a:gd name="connsiteY26" fmla="*/ 32610 h 2102966"/>
              <a:gd name="connsiteX27" fmla="*/ 0 w 2242827"/>
              <a:gd name="connsiteY27" fmla="*/ 1613232 h 2102966"/>
              <a:gd name="connsiteX28" fmla="*/ 0 w 2242827"/>
              <a:gd name="connsiteY28" fmla="*/ 1590961 h 2102966"/>
              <a:gd name="connsiteX29" fmla="*/ 1729127 w 2242827"/>
              <a:gd name="connsiteY29" fmla="*/ 30432 h 2102966"/>
              <a:gd name="connsiteX30" fmla="*/ 1608247 w 2242827"/>
              <a:gd name="connsiteY30" fmla="*/ 0 h 2102966"/>
              <a:gd name="connsiteX31" fmla="*/ 1630525 w 2242827"/>
              <a:gd name="connsiteY31" fmla="*/ 0 h 2102966"/>
              <a:gd name="connsiteX32" fmla="*/ 1629507 w 2242827"/>
              <a:gd name="connsiteY32" fmla="*/ 20086 h 2102966"/>
              <a:gd name="connsiteX33" fmla="*/ 0 w 2242827"/>
              <a:gd name="connsiteY33" fmla="*/ 1490712 h 2102966"/>
              <a:gd name="connsiteX34" fmla="*/ 0 w 2242827"/>
              <a:gd name="connsiteY34" fmla="*/ 1468436 h 2102966"/>
              <a:gd name="connsiteX35" fmla="*/ 1607345 w 2242827"/>
              <a:gd name="connsiteY35" fmla="*/ 17816 h 2102966"/>
              <a:gd name="connsiteX36" fmla="*/ 1485833 w 2242827"/>
              <a:gd name="connsiteY36" fmla="*/ 0 h 2102966"/>
              <a:gd name="connsiteX37" fmla="*/ 1508109 w 2242827"/>
              <a:gd name="connsiteY37" fmla="*/ 0 h 2102966"/>
              <a:gd name="connsiteX38" fmla="*/ 1507724 w 2242827"/>
              <a:gd name="connsiteY38" fmla="*/ 7596 h 2102966"/>
              <a:gd name="connsiteX39" fmla="*/ 0 w 2242827"/>
              <a:gd name="connsiteY39" fmla="*/ 1368317 h 2102966"/>
              <a:gd name="connsiteX40" fmla="*/ 0 w 2242827"/>
              <a:gd name="connsiteY40" fmla="*/ 1346041 h 2102966"/>
              <a:gd name="connsiteX41" fmla="*/ 1485563 w 2242827"/>
              <a:gd name="connsiteY41" fmla="*/ 5325 h 2102966"/>
              <a:gd name="connsiteX42" fmla="*/ 1362591 w 2242827"/>
              <a:gd name="connsiteY42" fmla="*/ 0 h 2102966"/>
              <a:gd name="connsiteX43" fmla="*/ 1385194 w 2242827"/>
              <a:gd name="connsiteY43" fmla="*/ 0 h 2102966"/>
              <a:gd name="connsiteX44" fmla="*/ 1364797 w 2242827"/>
              <a:gd name="connsiteY44" fmla="*/ 133264 h 2102966"/>
              <a:gd name="connsiteX45" fmla="*/ 0 w 2242827"/>
              <a:gd name="connsiteY45" fmla="*/ 1245917 h 2102966"/>
              <a:gd name="connsiteX46" fmla="*/ 0 w 2242827"/>
              <a:gd name="connsiteY46" fmla="*/ 1223641 h 2102966"/>
              <a:gd name="connsiteX47" fmla="*/ 1342864 w 2242827"/>
              <a:gd name="connsiteY47" fmla="*/ 128894 h 2102966"/>
              <a:gd name="connsiteX48" fmla="*/ 1238878 w 2242827"/>
              <a:gd name="connsiteY48" fmla="*/ 0 h 2102966"/>
              <a:gd name="connsiteX49" fmla="*/ 1261388 w 2242827"/>
              <a:gd name="connsiteY49" fmla="*/ 0 h 2102966"/>
              <a:gd name="connsiteX50" fmla="*/ 1244763 w 2242827"/>
              <a:gd name="connsiteY50" fmla="*/ 108614 h 2102966"/>
              <a:gd name="connsiteX51" fmla="*/ 0 w 2242827"/>
              <a:gd name="connsiteY51" fmla="*/ 1123397 h 2102966"/>
              <a:gd name="connsiteX52" fmla="*/ 0 w 2242827"/>
              <a:gd name="connsiteY52" fmla="*/ 1101121 h 2102966"/>
              <a:gd name="connsiteX53" fmla="*/ 1222940 w 2242827"/>
              <a:gd name="connsiteY53" fmla="*/ 104135 h 2102966"/>
              <a:gd name="connsiteX54" fmla="*/ 1115178 w 2242827"/>
              <a:gd name="connsiteY54" fmla="*/ 0 h 2102966"/>
              <a:gd name="connsiteX55" fmla="*/ 1137688 w 2242827"/>
              <a:gd name="connsiteY55" fmla="*/ 0 h 2102966"/>
              <a:gd name="connsiteX56" fmla="*/ 1124836 w 2242827"/>
              <a:gd name="connsiteY56" fmla="*/ 83962 h 2102966"/>
              <a:gd name="connsiteX57" fmla="*/ 0 w 2242827"/>
              <a:gd name="connsiteY57" fmla="*/ 1000978 h 2102966"/>
              <a:gd name="connsiteX58" fmla="*/ 0 w 2242827"/>
              <a:gd name="connsiteY58" fmla="*/ 978703 h 2102966"/>
              <a:gd name="connsiteX59" fmla="*/ 1103012 w 2242827"/>
              <a:gd name="connsiteY59" fmla="*/ 79485 h 2102966"/>
              <a:gd name="connsiteX60" fmla="*/ 991375 w 2242827"/>
              <a:gd name="connsiteY60" fmla="*/ 0 h 2102966"/>
              <a:gd name="connsiteX61" fmla="*/ 1013997 w 2242827"/>
              <a:gd name="connsiteY61" fmla="*/ 0 h 2102966"/>
              <a:gd name="connsiteX62" fmla="*/ 1004915 w 2242827"/>
              <a:gd name="connsiteY62" fmla="*/ 59331 h 2102966"/>
              <a:gd name="connsiteX63" fmla="*/ 0 w 2242827"/>
              <a:gd name="connsiteY63" fmla="*/ 878583 h 2102966"/>
              <a:gd name="connsiteX64" fmla="*/ 0 w 2242827"/>
              <a:gd name="connsiteY64" fmla="*/ 856307 h 2102966"/>
              <a:gd name="connsiteX65" fmla="*/ 982981 w 2242827"/>
              <a:gd name="connsiteY65" fmla="*/ 54853 h 2102966"/>
              <a:gd name="connsiteX66" fmla="*/ 866108 w 2242827"/>
              <a:gd name="connsiteY66" fmla="*/ 0 h 2102966"/>
              <a:gd name="connsiteX67" fmla="*/ 888384 w 2242827"/>
              <a:gd name="connsiteY67" fmla="*/ 0 h 2102966"/>
              <a:gd name="connsiteX68" fmla="*/ 884876 w 2242827"/>
              <a:gd name="connsiteY68" fmla="*/ 34680 h 2102966"/>
              <a:gd name="connsiteX69" fmla="*/ 0 w 2242827"/>
              <a:gd name="connsiteY69" fmla="*/ 756058 h 2102966"/>
              <a:gd name="connsiteX70" fmla="*/ 0 w 2242827"/>
              <a:gd name="connsiteY70" fmla="*/ 733782 h 2102966"/>
              <a:gd name="connsiteX71" fmla="*/ 863057 w 2242827"/>
              <a:gd name="connsiteY71" fmla="*/ 30169 h 2102966"/>
              <a:gd name="connsiteX72" fmla="*/ 743692 w 2242827"/>
              <a:gd name="connsiteY72" fmla="*/ 0 h 2102966"/>
              <a:gd name="connsiteX73" fmla="*/ 765973 w 2242827"/>
              <a:gd name="connsiteY73" fmla="*/ 0 h 2102966"/>
              <a:gd name="connsiteX74" fmla="*/ 764957 w 2242827"/>
              <a:gd name="connsiteY74" fmla="*/ 10048 h 2102966"/>
              <a:gd name="connsiteX75" fmla="*/ 0 w 2242827"/>
              <a:gd name="connsiteY75" fmla="*/ 633662 h 2102966"/>
              <a:gd name="connsiteX76" fmla="*/ 0 w 2242827"/>
              <a:gd name="connsiteY76" fmla="*/ 611386 h 2102966"/>
              <a:gd name="connsiteX77" fmla="*/ 743129 w 2242827"/>
              <a:gd name="connsiteY77" fmla="*/ 5570 h 2102966"/>
              <a:gd name="connsiteX78" fmla="*/ 617163 w 2242827"/>
              <a:gd name="connsiteY78" fmla="*/ 0 h 2102966"/>
              <a:gd name="connsiteX79" fmla="*/ 640489 w 2242827"/>
              <a:gd name="connsiteY79" fmla="*/ 0 h 2102966"/>
              <a:gd name="connsiteX80" fmla="*/ 606611 w 2242827"/>
              <a:gd name="connsiteY80" fmla="*/ 108906 h 2102966"/>
              <a:gd name="connsiteX81" fmla="*/ 0 w 2242827"/>
              <a:gd name="connsiteY81" fmla="*/ 511248 h 2102966"/>
              <a:gd name="connsiteX82" fmla="*/ 0 w 2242827"/>
              <a:gd name="connsiteY82" fmla="*/ 488972 h 2102966"/>
              <a:gd name="connsiteX83" fmla="*/ 585980 w 2242827"/>
              <a:gd name="connsiteY83" fmla="*/ 100252 h 2102966"/>
              <a:gd name="connsiteX84" fmla="*/ 489561 w 2242827"/>
              <a:gd name="connsiteY84" fmla="*/ 0 h 2102966"/>
              <a:gd name="connsiteX85" fmla="*/ 512789 w 2242827"/>
              <a:gd name="connsiteY85" fmla="*/ 0 h 2102966"/>
              <a:gd name="connsiteX86" fmla="*/ 493721 w 2242827"/>
              <a:gd name="connsiteY86" fmla="*/ 61289 h 2102966"/>
              <a:gd name="connsiteX87" fmla="*/ 0 w 2242827"/>
              <a:gd name="connsiteY87" fmla="*/ 388735 h 2102966"/>
              <a:gd name="connsiteX88" fmla="*/ 0 w 2242827"/>
              <a:gd name="connsiteY88" fmla="*/ 366459 h 2102966"/>
              <a:gd name="connsiteX89" fmla="*/ 473199 w 2242827"/>
              <a:gd name="connsiteY89" fmla="*/ 52587 h 2102966"/>
              <a:gd name="connsiteX90" fmla="*/ 361966 w 2242827"/>
              <a:gd name="connsiteY90" fmla="*/ 0 h 2102966"/>
              <a:gd name="connsiteX91" fmla="*/ 385181 w 2242827"/>
              <a:gd name="connsiteY91" fmla="*/ 0 h 2102966"/>
              <a:gd name="connsiteX92" fmla="*/ 380937 w 2242827"/>
              <a:gd name="connsiteY92" fmla="*/ 13636 h 2102966"/>
              <a:gd name="connsiteX93" fmla="*/ 0 w 2242827"/>
              <a:gd name="connsiteY93" fmla="*/ 266328 h 2102966"/>
              <a:gd name="connsiteX94" fmla="*/ 0 w 2242827"/>
              <a:gd name="connsiteY94" fmla="*/ 244052 h 2102966"/>
              <a:gd name="connsiteX95" fmla="*/ 360416 w 2242827"/>
              <a:gd name="connsiteY95" fmla="*/ 4982 h 2102966"/>
              <a:gd name="connsiteX96" fmla="*/ 218905 w 2242827"/>
              <a:gd name="connsiteY96" fmla="*/ 0 h 2102966"/>
              <a:gd name="connsiteX97" fmla="*/ 249720 w 2242827"/>
              <a:gd name="connsiteY97" fmla="*/ 0 h 2102966"/>
              <a:gd name="connsiteX98" fmla="*/ 241311 w 2242827"/>
              <a:gd name="connsiteY98" fmla="*/ 15475 h 2102966"/>
              <a:gd name="connsiteX99" fmla="*/ 0 w 2242827"/>
              <a:gd name="connsiteY99" fmla="*/ 143932 h 2102966"/>
              <a:gd name="connsiteX100" fmla="*/ 0 w 2242827"/>
              <a:gd name="connsiteY100" fmla="*/ 121656 h 2102966"/>
              <a:gd name="connsiteX101" fmla="*/ 189966 w 2242827"/>
              <a:gd name="connsiteY101" fmla="*/ 42875 h 2102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2242827" h="2102966">
                <a:moveTo>
                  <a:pt x="2220549" y="0"/>
                </a:moveTo>
                <a:lnTo>
                  <a:pt x="2242827" y="0"/>
                </a:lnTo>
                <a:lnTo>
                  <a:pt x="2238641" y="82607"/>
                </a:lnTo>
                <a:cubicBezTo>
                  <a:pt x="2123193" y="1215807"/>
                  <a:pt x="1163255" y="2102966"/>
                  <a:pt x="1" y="2102966"/>
                </a:cubicBezTo>
                <a:lnTo>
                  <a:pt x="1" y="2080690"/>
                </a:lnTo>
                <a:cubicBezTo>
                  <a:pt x="1151759" y="2080690"/>
                  <a:pt x="2102176" y="1202330"/>
                  <a:pt x="2216479" y="80336"/>
                </a:cubicBezTo>
                <a:close/>
                <a:moveTo>
                  <a:pt x="2098030" y="0"/>
                </a:moveTo>
                <a:lnTo>
                  <a:pt x="2120412" y="0"/>
                </a:lnTo>
                <a:lnTo>
                  <a:pt x="2116859" y="70117"/>
                </a:lnTo>
                <a:cubicBezTo>
                  <a:pt x="2007691" y="1141666"/>
                  <a:pt x="1099966" y="1980571"/>
                  <a:pt x="1" y="1980571"/>
                </a:cubicBezTo>
                <a:lnTo>
                  <a:pt x="1" y="1958295"/>
                </a:lnTo>
                <a:cubicBezTo>
                  <a:pt x="1088470" y="1958295"/>
                  <a:pt x="1986577" y="1128187"/>
                  <a:pt x="2094588" y="67938"/>
                </a:cubicBezTo>
                <a:close/>
                <a:moveTo>
                  <a:pt x="1975608" y="0"/>
                </a:moveTo>
                <a:lnTo>
                  <a:pt x="1997887" y="0"/>
                </a:lnTo>
                <a:lnTo>
                  <a:pt x="1994968" y="57611"/>
                </a:lnTo>
                <a:cubicBezTo>
                  <a:pt x="1892090" y="1067493"/>
                  <a:pt x="1036676" y="1858047"/>
                  <a:pt x="1" y="1858047"/>
                </a:cubicBezTo>
                <a:lnTo>
                  <a:pt x="1" y="1835771"/>
                </a:lnTo>
                <a:cubicBezTo>
                  <a:pt x="1025181" y="1835771"/>
                  <a:pt x="1871073" y="1053919"/>
                  <a:pt x="1972805" y="55322"/>
                </a:cubicBezTo>
                <a:close/>
                <a:moveTo>
                  <a:pt x="1853193" y="0"/>
                </a:moveTo>
                <a:lnTo>
                  <a:pt x="1875472" y="0"/>
                </a:lnTo>
                <a:lnTo>
                  <a:pt x="1873186" y="45119"/>
                </a:lnTo>
                <a:cubicBezTo>
                  <a:pt x="1776588" y="993350"/>
                  <a:pt x="973388" y="1735650"/>
                  <a:pt x="0" y="1735650"/>
                </a:cubicBezTo>
                <a:lnTo>
                  <a:pt x="0" y="1713374"/>
                </a:lnTo>
                <a:cubicBezTo>
                  <a:pt x="961784" y="1713374"/>
                  <a:pt x="1755557" y="979877"/>
                  <a:pt x="1851022" y="42848"/>
                </a:cubicBezTo>
                <a:close/>
                <a:moveTo>
                  <a:pt x="1730668" y="0"/>
                </a:moveTo>
                <a:lnTo>
                  <a:pt x="1753056" y="0"/>
                </a:lnTo>
                <a:lnTo>
                  <a:pt x="1751404" y="32610"/>
                </a:lnTo>
                <a:cubicBezTo>
                  <a:pt x="1661086" y="919190"/>
                  <a:pt x="910098" y="1613232"/>
                  <a:pt x="0" y="1613232"/>
                </a:cubicBezTo>
                <a:lnTo>
                  <a:pt x="0" y="1590961"/>
                </a:lnTo>
                <a:cubicBezTo>
                  <a:pt x="898495" y="1590961"/>
                  <a:pt x="1639954" y="905712"/>
                  <a:pt x="1729127" y="30432"/>
                </a:cubicBezTo>
                <a:close/>
                <a:moveTo>
                  <a:pt x="1608247" y="0"/>
                </a:moveTo>
                <a:lnTo>
                  <a:pt x="1630525" y="0"/>
                </a:lnTo>
                <a:lnTo>
                  <a:pt x="1629507" y="20086"/>
                </a:lnTo>
                <a:cubicBezTo>
                  <a:pt x="1545469" y="844919"/>
                  <a:pt x="846701" y="1490712"/>
                  <a:pt x="0" y="1490712"/>
                </a:cubicBezTo>
                <a:lnTo>
                  <a:pt x="0" y="1468436"/>
                </a:lnTo>
                <a:cubicBezTo>
                  <a:pt x="835206" y="1468436"/>
                  <a:pt x="1524451" y="831445"/>
                  <a:pt x="1607345" y="17816"/>
                </a:cubicBezTo>
                <a:close/>
                <a:moveTo>
                  <a:pt x="1485833" y="0"/>
                </a:moveTo>
                <a:lnTo>
                  <a:pt x="1508109" y="0"/>
                </a:lnTo>
                <a:lnTo>
                  <a:pt x="1507724" y="7596"/>
                </a:lnTo>
                <a:cubicBezTo>
                  <a:pt x="1429966" y="770778"/>
                  <a:pt x="783416" y="1368317"/>
                  <a:pt x="0" y="1368317"/>
                </a:cubicBezTo>
                <a:lnTo>
                  <a:pt x="0" y="1346041"/>
                </a:lnTo>
                <a:cubicBezTo>
                  <a:pt x="771917" y="1346041"/>
                  <a:pt x="1408949" y="757304"/>
                  <a:pt x="1485563" y="5325"/>
                </a:cubicBezTo>
                <a:close/>
                <a:moveTo>
                  <a:pt x="1362591" y="0"/>
                </a:moveTo>
                <a:lnTo>
                  <a:pt x="1385194" y="0"/>
                </a:lnTo>
                <a:lnTo>
                  <a:pt x="1364797" y="133264"/>
                </a:lnTo>
                <a:cubicBezTo>
                  <a:pt x="1234684" y="767432"/>
                  <a:pt x="672215" y="1245917"/>
                  <a:pt x="0" y="1245917"/>
                </a:cubicBezTo>
                <a:lnTo>
                  <a:pt x="0" y="1223641"/>
                </a:lnTo>
                <a:cubicBezTo>
                  <a:pt x="661385" y="1223641"/>
                  <a:pt x="1214835" y="752908"/>
                  <a:pt x="1342864" y="128894"/>
                </a:cubicBezTo>
                <a:close/>
                <a:moveTo>
                  <a:pt x="1238878" y="0"/>
                </a:moveTo>
                <a:lnTo>
                  <a:pt x="1261388" y="0"/>
                </a:lnTo>
                <a:lnTo>
                  <a:pt x="1244763" y="108614"/>
                </a:lnTo>
                <a:cubicBezTo>
                  <a:pt x="1126083" y="687031"/>
                  <a:pt x="613049" y="1123397"/>
                  <a:pt x="0" y="1123397"/>
                </a:cubicBezTo>
                <a:lnTo>
                  <a:pt x="0" y="1101121"/>
                </a:lnTo>
                <a:cubicBezTo>
                  <a:pt x="602316" y="1101121"/>
                  <a:pt x="1106344" y="672419"/>
                  <a:pt x="1222940" y="104135"/>
                </a:cubicBezTo>
                <a:close/>
                <a:moveTo>
                  <a:pt x="1115178" y="0"/>
                </a:moveTo>
                <a:lnTo>
                  <a:pt x="1137688" y="0"/>
                </a:lnTo>
                <a:lnTo>
                  <a:pt x="1124836" y="83962"/>
                </a:lnTo>
                <a:cubicBezTo>
                  <a:pt x="1017592" y="606647"/>
                  <a:pt x="553979" y="1000978"/>
                  <a:pt x="0" y="1000978"/>
                </a:cubicBezTo>
                <a:lnTo>
                  <a:pt x="0" y="978703"/>
                </a:lnTo>
                <a:cubicBezTo>
                  <a:pt x="543246" y="978703"/>
                  <a:pt x="997852" y="592039"/>
                  <a:pt x="1103012" y="79485"/>
                </a:cubicBezTo>
                <a:close/>
                <a:moveTo>
                  <a:pt x="991375" y="0"/>
                </a:moveTo>
                <a:lnTo>
                  <a:pt x="1013997" y="0"/>
                </a:lnTo>
                <a:lnTo>
                  <a:pt x="1004915" y="59331"/>
                </a:lnTo>
                <a:cubicBezTo>
                  <a:pt x="909100" y="526286"/>
                  <a:pt x="494909" y="878583"/>
                  <a:pt x="0" y="878583"/>
                </a:cubicBezTo>
                <a:lnTo>
                  <a:pt x="0" y="856307"/>
                </a:lnTo>
                <a:cubicBezTo>
                  <a:pt x="484176" y="856307"/>
                  <a:pt x="889272" y="511676"/>
                  <a:pt x="982981" y="54853"/>
                </a:cubicBezTo>
                <a:close/>
                <a:moveTo>
                  <a:pt x="866108" y="0"/>
                </a:moveTo>
                <a:lnTo>
                  <a:pt x="888384" y="0"/>
                </a:lnTo>
                <a:lnTo>
                  <a:pt x="884876" y="34680"/>
                </a:lnTo>
                <a:cubicBezTo>
                  <a:pt x="800495" y="445883"/>
                  <a:pt x="435739" y="756058"/>
                  <a:pt x="0" y="756058"/>
                </a:cubicBezTo>
                <a:lnTo>
                  <a:pt x="0" y="733782"/>
                </a:lnTo>
                <a:cubicBezTo>
                  <a:pt x="425107" y="733782"/>
                  <a:pt x="780781" y="431187"/>
                  <a:pt x="863057" y="30169"/>
                </a:cubicBezTo>
                <a:close/>
                <a:moveTo>
                  <a:pt x="743692" y="0"/>
                </a:moveTo>
                <a:lnTo>
                  <a:pt x="765973" y="0"/>
                </a:lnTo>
                <a:lnTo>
                  <a:pt x="764957" y="10048"/>
                </a:lnTo>
                <a:cubicBezTo>
                  <a:pt x="692029" y="365521"/>
                  <a:pt x="376767" y="633662"/>
                  <a:pt x="0" y="633662"/>
                </a:cubicBezTo>
                <a:lnTo>
                  <a:pt x="0" y="611386"/>
                </a:lnTo>
                <a:cubicBezTo>
                  <a:pt x="365938" y="611386"/>
                  <a:pt x="672265" y="350911"/>
                  <a:pt x="743129" y="5570"/>
                </a:cubicBezTo>
                <a:close/>
                <a:moveTo>
                  <a:pt x="617163" y="0"/>
                </a:moveTo>
                <a:lnTo>
                  <a:pt x="640489" y="0"/>
                </a:lnTo>
                <a:lnTo>
                  <a:pt x="606611" y="108906"/>
                </a:lnTo>
                <a:cubicBezTo>
                  <a:pt x="506524" y="345128"/>
                  <a:pt x="272312" y="511248"/>
                  <a:pt x="0" y="511248"/>
                </a:cubicBezTo>
                <a:lnTo>
                  <a:pt x="0" y="488972"/>
                </a:lnTo>
                <a:cubicBezTo>
                  <a:pt x="263030" y="488972"/>
                  <a:pt x="489290" y="328485"/>
                  <a:pt x="585980" y="100252"/>
                </a:cubicBezTo>
                <a:close/>
                <a:moveTo>
                  <a:pt x="489561" y="0"/>
                </a:moveTo>
                <a:lnTo>
                  <a:pt x="512789" y="0"/>
                </a:lnTo>
                <a:lnTo>
                  <a:pt x="493721" y="61289"/>
                </a:lnTo>
                <a:cubicBezTo>
                  <a:pt x="412246" y="253561"/>
                  <a:pt x="221597" y="388735"/>
                  <a:pt x="0" y="388735"/>
                </a:cubicBezTo>
                <a:lnTo>
                  <a:pt x="0" y="366459"/>
                </a:lnTo>
                <a:cubicBezTo>
                  <a:pt x="212399" y="366459"/>
                  <a:pt x="395116" y="236854"/>
                  <a:pt x="473199" y="52587"/>
                </a:cubicBezTo>
                <a:close/>
                <a:moveTo>
                  <a:pt x="361966" y="0"/>
                </a:moveTo>
                <a:lnTo>
                  <a:pt x="385181" y="0"/>
                </a:lnTo>
                <a:lnTo>
                  <a:pt x="380937" y="13636"/>
                </a:lnTo>
                <a:cubicBezTo>
                  <a:pt x="318070" y="161973"/>
                  <a:pt x="170965" y="266328"/>
                  <a:pt x="0" y="266328"/>
                </a:cubicBezTo>
                <a:lnTo>
                  <a:pt x="0" y="244052"/>
                </a:lnTo>
                <a:cubicBezTo>
                  <a:pt x="161767" y="244052"/>
                  <a:pt x="300940" y="145329"/>
                  <a:pt x="360416" y="4982"/>
                </a:cubicBezTo>
                <a:close/>
                <a:moveTo>
                  <a:pt x="218905" y="0"/>
                </a:moveTo>
                <a:lnTo>
                  <a:pt x="249720" y="0"/>
                </a:lnTo>
                <a:lnTo>
                  <a:pt x="241311" y="15475"/>
                </a:lnTo>
                <a:cubicBezTo>
                  <a:pt x="188962" y="92909"/>
                  <a:pt x="100349" y="143932"/>
                  <a:pt x="0" y="143932"/>
                </a:cubicBezTo>
                <a:lnTo>
                  <a:pt x="0" y="121656"/>
                </a:lnTo>
                <a:cubicBezTo>
                  <a:pt x="74091" y="121656"/>
                  <a:pt x="141290" y="91533"/>
                  <a:pt x="189966" y="42875"/>
                </a:cubicBezTo>
                <a:close/>
              </a:path>
            </a:pathLst>
          </a:custGeom>
          <a:solidFill>
            <a:schemeClr val="accent3">
              <a:lumMod val="20000"/>
              <a:lumOff val="80000"/>
            </a:schemeClr>
          </a:solidFill>
          <a:ln w="458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dirty="0">
              <a:solidFill>
                <a:schemeClr val="tx1"/>
              </a:solidFill>
            </a:endParaRPr>
          </a:p>
        </p:txBody>
      </p:sp>
      <p:sp>
        <p:nvSpPr>
          <p:cNvPr id="8" name="Freeform: Shape 7">
            <a:extLst>
              <a:ext uri="{FF2B5EF4-FFF2-40B4-BE49-F238E27FC236}">
                <a16:creationId xmlns:a16="http://schemas.microsoft.com/office/drawing/2014/main" id="{95243571-BE64-3777-F992-88FC43A60537}"/>
              </a:ext>
            </a:extLst>
          </p:cNvPr>
          <p:cNvSpPr/>
          <p:nvPr userDrawn="1"/>
        </p:nvSpPr>
        <p:spPr>
          <a:xfrm flipH="1" flipV="1">
            <a:off x="9949173" y="4755034"/>
            <a:ext cx="2242827" cy="2102966"/>
          </a:xfrm>
          <a:custGeom>
            <a:avLst/>
            <a:gdLst>
              <a:gd name="connsiteX0" fmla="*/ 2220549 w 2242827"/>
              <a:gd name="connsiteY0" fmla="*/ 0 h 2102966"/>
              <a:gd name="connsiteX1" fmla="*/ 2242827 w 2242827"/>
              <a:gd name="connsiteY1" fmla="*/ 0 h 2102966"/>
              <a:gd name="connsiteX2" fmla="*/ 2238641 w 2242827"/>
              <a:gd name="connsiteY2" fmla="*/ 82607 h 2102966"/>
              <a:gd name="connsiteX3" fmla="*/ 1 w 2242827"/>
              <a:gd name="connsiteY3" fmla="*/ 2102966 h 2102966"/>
              <a:gd name="connsiteX4" fmla="*/ 1 w 2242827"/>
              <a:gd name="connsiteY4" fmla="*/ 2080690 h 2102966"/>
              <a:gd name="connsiteX5" fmla="*/ 2216479 w 2242827"/>
              <a:gd name="connsiteY5" fmla="*/ 80336 h 2102966"/>
              <a:gd name="connsiteX6" fmla="*/ 2098030 w 2242827"/>
              <a:gd name="connsiteY6" fmla="*/ 0 h 2102966"/>
              <a:gd name="connsiteX7" fmla="*/ 2120412 w 2242827"/>
              <a:gd name="connsiteY7" fmla="*/ 0 h 2102966"/>
              <a:gd name="connsiteX8" fmla="*/ 2116859 w 2242827"/>
              <a:gd name="connsiteY8" fmla="*/ 70117 h 2102966"/>
              <a:gd name="connsiteX9" fmla="*/ 1 w 2242827"/>
              <a:gd name="connsiteY9" fmla="*/ 1980571 h 2102966"/>
              <a:gd name="connsiteX10" fmla="*/ 1 w 2242827"/>
              <a:gd name="connsiteY10" fmla="*/ 1958295 h 2102966"/>
              <a:gd name="connsiteX11" fmla="*/ 2094588 w 2242827"/>
              <a:gd name="connsiteY11" fmla="*/ 67938 h 2102966"/>
              <a:gd name="connsiteX12" fmla="*/ 1975608 w 2242827"/>
              <a:gd name="connsiteY12" fmla="*/ 0 h 2102966"/>
              <a:gd name="connsiteX13" fmla="*/ 1997887 w 2242827"/>
              <a:gd name="connsiteY13" fmla="*/ 0 h 2102966"/>
              <a:gd name="connsiteX14" fmla="*/ 1994968 w 2242827"/>
              <a:gd name="connsiteY14" fmla="*/ 57611 h 2102966"/>
              <a:gd name="connsiteX15" fmla="*/ 1 w 2242827"/>
              <a:gd name="connsiteY15" fmla="*/ 1858047 h 2102966"/>
              <a:gd name="connsiteX16" fmla="*/ 1 w 2242827"/>
              <a:gd name="connsiteY16" fmla="*/ 1835771 h 2102966"/>
              <a:gd name="connsiteX17" fmla="*/ 1972805 w 2242827"/>
              <a:gd name="connsiteY17" fmla="*/ 55322 h 2102966"/>
              <a:gd name="connsiteX18" fmla="*/ 1853193 w 2242827"/>
              <a:gd name="connsiteY18" fmla="*/ 0 h 2102966"/>
              <a:gd name="connsiteX19" fmla="*/ 1875472 w 2242827"/>
              <a:gd name="connsiteY19" fmla="*/ 0 h 2102966"/>
              <a:gd name="connsiteX20" fmla="*/ 1873186 w 2242827"/>
              <a:gd name="connsiteY20" fmla="*/ 45119 h 2102966"/>
              <a:gd name="connsiteX21" fmla="*/ 0 w 2242827"/>
              <a:gd name="connsiteY21" fmla="*/ 1735650 h 2102966"/>
              <a:gd name="connsiteX22" fmla="*/ 0 w 2242827"/>
              <a:gd name="connsiteY22" fmla="*/ 1713374 h 2102966"/>
              <a:gd name="connsiteX23" fmla="*/ 1851022 w 2242827"/>
              <a:gd name="connsiteY23" fmla="*/ 42848 h 2102966"/>
              <a:gd name="connsiteX24" fmla="*/ 1730668 w 2242827"/>
              <a:gd name="connsiteY24" fmla="*/ 0 h 2102966"/>
              <a:gd name="connsiteX25" fmla="*/ 1753056 w 2242827"/>
              <a:gd name="connsiteY25" fmla="*/ 0 h 2102966"/>
              <a:gd name="connsiteX26" fmla="*/ 1751404 w 2242827"/>
              <a:gd name="connsiteY26" fmla="*/ 32610 h 2102966"/>
              <a:gd name="connsiteX27" fmla="*/ 0 w 2242827"/>
              <a:gd name="connsiteY27" fmla="*/ 1613232 h 2102966"/>
              <a:gd name="connsiteX28" fmla="*/ 0 w 2242827"/>
              <a:gd name="connsiteY28" fmla="*/ 1590961 h 2102966"/>
              <a:gd name="connsiteX29" fmla="*/ 1729127 w 2242827"/>
              <a:gd name="connsiteY29" fmla="*/ 30432 h 2102966"/>
              <a:gd name="connsiteX30" fmla="*/ 1608247 w 2242827"/>
              <a:gd name="connsiteY30" fmla="*/ 0 h 2102966"/>
              <a:gd name="connsiteX31" fmla="*/ 1630525 w 2242827"/>
              <a:gd name="connsiteY31" fmla="*/ 0 h 2102966"/>
              <a:gd name="connsiteX32" fmla="*/ 1629507 w 2242827"/>
              <a:gd name="connsiteY32" fmla="*/ 20086 h 2102966"/>
              <a:gd name="connsiteX33" fmla="*/ 0 w 2242827"/>
              <a:gd name="connsiteY33" fmla="*/ 1490712 h 2102966"/>
              <a:gd name="connsiteX34" fmla="*/ 0 w 2242827"/>
              <a:gd name="connsiteY34" fmla="*/ 1468436 h 2102966"/>
              <a:gd name="connsiteX35" fmla="*/ 1607345 w 2242827"/>
              <a:gd name="connsiteY35" fmla="*/ 17816 h 2102966"/>
              <a:gd name="connsiteX36" fmla="*/ 1485833 w 2242827"/>
              <a:gd name="connsiteY36" fmla="*/ 0 h 2102966"/>
              <a:gd name="connsiteX37" fmla="*/ 1508109 w 2242827"/>
              <a:gd name="connsiteY37" fmla="*/ 0 h 2102966"/>
              <a:gd name="connsiteX38" fmla="*/ 1507724 w 2242827"/>
              <a:gd name="connsiteY38" fmla="*/ 7596 h 2102966"/>
              <a:gd name="connsiteX39" fmla="*/ 0 w 2242827"/>
              <a:gd name="connsiteY39" fmla="*/ 1368317 h 2102966"/>
              <a:gd name="connsiteX40" fmla="*/ 0 w 2242827"/>
              <a:gd name="connsiteY40" fmla="*/ 1346041 h 2102966"/>
              <a:gd name="connsiteX41" fmla="*/ 1485563 w 2242827"/>
              <a:gd name="connsiteY41" fmla="*/ 5325 h 2102966"/>
              <a:gd name="connsiteX42" fmla="*/ 1362591 w 2242827"/>
              <a:gd name="connsiteY42" fmla="*/ 0 h 2102966"/>
              <a:gd name="connsiteX43" fmla="*/ 1385194 w 2242827"/>
              <a:gd name="connsiteY43" fmla="*/ 0 h 2102966"/>
              <a:gd name="connsiteX44" fmla="*/ 1364797 w 2242827"/>
              <a:gd name="connsiteY44" fmla="*/ 133264 h 2102966"/>
              <a:gd name="connsiteX45" fmla="*/ 0 w 2242827"/>
              <a:gd name="connsiteY45" fmla="*/ 1245917 h 2102966"/>
              <a:gd name="connsiteX46" fmla="*/ 0 w 2242827"/>
              <a:gd name="connsiteY46" fmla="*/ 1223641 h 2102966"/>
              <a:gd name="connsiteX47" fmla="*/ 1342864 w 2242827"/>
              <a:gd name="connsiteY47" fmla="*/ 128894 h 2102966"/>
              <a:gd name="connsiteX48" fmla="*/ 1238878 w 2242827"/>
              <a:gd name="connsiteY48" fmla="*/ 0 h 2102966"/>
              <a:gd name="connsiteX49" fmla="*/ 1261388 w 2242827"/>
              <a:gd name="connsiteY49" fmla="*/ 0 h 2102966"/>
              <a:gd name="connsiteX50" fmla="*/ 1244763 w 2242827"/>
              <a:gd name="connsiteY50" fmla="*/ 108614 h 2102966"/>
              <a:gd name="connsiteX51" fmla="*/ 0 w 2242827"/>
              <a:gd name="connsiteY51" fmla="*/ 1123397 h 2102966"/>
              <a:gd name="connsiteX52" fmla="*/ 0 w 2242827"/>
              <a:gd name="connsiteY52" fmla="*/ 1101121 h 2102966"/>
              <a:gd name="connsiteX53" fmla="*/ 1222940 w 2242827"/>
              <a:gd name="connsiteY53" fmla="*/ 104135 h 2102966"/>
              <a:gd name="connsiteX54" fmla="*/ 1115178 w 2242827"/>
              <a:gd name="connsiteY54" fmla="*/ 0 h 2102966"/>
              <a:gd name="connsiteX55" fmla="*/ 1137688 w 2242827"/>
              <a:gd name="connsiteY55" fmla="*/ 0 h 2102966"/>
              <a:gd name="connsiteX56" fmla="*/ 1124836 w 2242827"/>
              <a:gd name="connsiteY56" fmla="*/ 83962 h 2102966"/>
              <a:gd name="connsiteX57" fmla="*/ 0 w 2242827"/>
              <a:gd name="connsiteY57" fmla="*/ 1000978 h 2102966"/>
              <a:gd name="connsiteX58" fmla="*/ 0 w 2242827"/>
              <a:gd name="connsiteY58" fmla="*/ 978703 h 2102966"/>
              <a:gd name="connsiteX59" fmla="*/ 1103012 w 2242827"/>
              <a:gd name="connsiteY59" fmla="*/ 79485 h 2102966"/>
              <a:gd name="connsiteX60" fmla="*/ 991375 w 2242827"/>
              <a:gd name="connsiteY60" fmla="*/ 0 h 2102966"/>
              <a:gd name="connsiteX61" fmla="*/ 1013997 w 2242827"/>
              <a:gd name="connsiteY61" fmla="*/ 0 h 2102966"/>
              <a:gd name="connsiteX62" fmla="*/ 1004915 w 2242827"/>
              <a:gd name="connsiteY62" fmla="*/ 59331 h 2102966"/>
              <a:gd name="connsiteX63" fmla="*/ 0 w 2242827"/>
              <a:gd name="connsiteY63" fmla="*/ 878583 h 2102966"/>
              <a:gd name="connsiteX64" fmla="*/ 0 w 2242827"/>
              <a:gd name="connsiteY64" fmla="*/ 856307 h 2102966"/>
              <a:gd name="connsiteX65" fmla="*/ 982981 w 2242827"/>
              <a:gd name="connsiteY65" fmla="*/ 54853 h 2102966"/>
              <a:gd name="connsiteX66" fmla="*/ 866108 w 2242827"/>
              <a:gd name="connsiteY66" fmla="*/ 0 h 2102966"/>
              <a:gd name="connsiteX67" fmla="*/ 888384 w 2242827"/>
              <a:gd name="connsiteY67" fmla="*/ 0 h 2102966"/>
              <a:gd name="connsiteX68" fmla="*/ 884876 w 2242827"/>
              <a:gd name="connsiteY68" fmla="*/ 34680 h 2102966"/>
              <a:gd name="connsiteX69" fmla="*/ 0 w 2242827"/>
              <a:gd name="connsiteY69" fmla="*/ 756058 h 2102966"/>
              <a:gd name="connsiteX70" fmla="*/ 0 w 2242827"/>
              <a:gd name="connsiteY70" fmla="*/ 733782 h 2102966"/>
              <a:gd name="connsiteX71" fmla="*/ 863057 w 2242827"/>
              <a:gd name="connsiteY71" fmla="*/ 30169 h 2102966"/>
              <a:gd name="connsiteX72" fmla="*/ 743692 w 2242827"/>
              <a:gd name="connsiteY72" fmla="*/ 0 h 2102966"/>
              <a:gd name="connsiteX73" fmla="*/ 765973 w 2242827"/>
              <a:gd name="connsiteY73" fmla="*/ 0 h 2102966"/>
              <a:gd name="connsiteX74" fmla="*/ 764957 w 2242827"/>
              <a:gd name="connsiteY74" fmla="*/ 10048 h 2102966"/>
              <a:gd name="connsiteX75" fmla="*/ 0 w 2242827"/>
              <a:gd name="connsiteY75" fmla="*/ 633662 h 2102966"/>
              <a:gd name="connsiteX76" fmla="*/ 0 w 2242827"/>
              <a:gd name="connsiteY76" fmla="*/ 611386 h 2102966"/>
              <a:gd name="connsiteX77" fmla="*/ 743129 w 2242827"/>
              <a:gd name="connsiteY77" fmla="*/ 5570 h 2102966"/>
              <a:gd name="connsiteX78" fmla="*/ 617163 w 2242827"/>
              <a:gd name="connsiteY78" fmla="*/ 0 h 2102966"/>
              <a:gd name="connsiteX79" fmla="*/ 640489 w 2242827"/>
              <a:gd name="connsiteY79" fmla="*/ 0 h 2102966"/>
              <a:gd name="connsiteX80" fmla="*/ 606611 w 2242827"/>
              <a:gd name="connsiteY80" fmla="*/ 108906 h 2102966"/>
              <a:gd name="connsiteX81" fmla="*/ 0 w 2242827"/>
              <a:gd name="connsiteY81" fmla="*/ 511248 h 2102966"/>
              <a:gd name="connsiteX82" fmla="*/ 0 w 2242827"/>
              <a:gd name="connsiteY82" fmla="*/ 488972 h 2102966"/>
              <a:gd name="connsiteX83" fmla="*/ 585980 w 2242827"/>
              <a:gd name="connsiteY83" fmla="*/ 100252 h 2102966"/>
              <a:gd name="connsiteX84" fmla="*/ 489561 w 2242827"/>
              <a:gd name="connsiteY84" fmla="*/ 0 h 2102966"/>
              <a:gd name="connsiteX85" fmla="*/ 512789 w 2242827"/>
              <a:gd name="connsiteY85" fmla="*/ 0 h 2102966"/>
              <a:gd name="connsiteX86" fmla="*/ 493721 w 2242827"/>
              <a:gd name="connsiteY86" fmla="*/ 61289 h 2102966"/>
              <a:gd name="connsiteX87" fmla="*/ 0 w 2242827"/>
              <a:gd name="connsiteY87" fmla="*/ 388735 h 2102966"/>
              <a:gd name="connsiteX88" fmla="*/ 0 w 2242827"/>
              <a:gd name="connsiteY88" fmla="*/ 366459 h 2102966"/>
              <a:gd name="connsiteX89" fmla="*/ 473199 w 2242827"/>
              <a:gd name="connsiteY89" fmla="*/ 52587 h 2102966"/>
              <a:gd name="connsiteX90" fmla="*/ 361966 w 2242827"/>
              <a:gd name="connsiteY90" fmla="*/ 0 h 2102966"/>
              <a:gd name="connsiteX91" fmla="*/ 385181 w 2242827"/>
              <a:gd name="connsiteY91" fmla="*/ 0 h 2102966"/>
              <a:gd name="connsiteX92" fmla="*/ 380937 w 2242827"/>
              <a:gd name="connsiteY92" fmla="*/ 13636 h 2102966"/>
              <a:gd name="connsiteX93" fmla="*/ 0 w 2242827"/>
              <a:gd name="connsiteY93" fmla="*/ 266328 h 2102966"/>
              <a:gd name="connsiteX94" fmla="*/ 0 w 2242827"/>
              <a:gd name="connsiteY94" fmla="*/ 244052 h 2102966"/>
              <a:gd name="connsiteX95" fmla="*/ 360416 w 2242827"/>
              <a:gd name="connsiteY95" fmla="*/ 4982 h 2102966"/>
              <a:gd name="connsiteX96" fmla="*/ 218905 w 2242827"/>
              <a:gd name="connsiteY96" fmla="*/ 0 h 2102966"/>
              <a:gd name="connsiteX97" fmla="*/ 249720 w 2242827"/>
              <a:gd name="connsiteY97" fmla="*/ 0 h 2102966"/>
              <a:gd name="connsiteX98" fmla="*/ 241311 w 2242827"/>
              <a:gd name="connsiteY98" fmla="*/ 15475 h 2102966"/>
              <a:gd name="connsiteX99" fmla="*/ 0 w 2242827"/>
              <a:gd name="connsiteY99" fmla="*/ 143932 h 2102966"/>
              <a:gd name="connsiteX100" fmla="*/ 0 w 2242827"/>
              <a:gd name="connsiteY100" fmla="*/ 121656 h 2102966"/>
              <a:gd name="connsiteX101" fmla="*/ 189966 w 2242827"/>
              <a:gd name="connsiteY101" fmla="*/ 42875 h 2102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2242827" h="2102966">
                <a:moveTo>
                  <a:pt x="2220549" y="0"/>
                </a:moveTo>
                <a:lnTo>
                  <a:pt x="2242827" y="0"/>
                </a:lnTo>
                <a:lnTo>
                  <a:pt x="2238641" y="82607"/>
                </a:lnTo>
                <a:cubicBezTo>
                  <a:pt x="2123193" y="1215807"/>
                  <a:pt x="1163255" y="2102966"/>
                  <a:pt x="1" y="2102966"/>
                </a:cubicBezTo>
                <a:lnTo>
                  <a:pt x="1" y="2080690"/>
                </a:lnTo>
                <a:cubicBezTo>
                  <a:pt x="1151759" y="2080690"/>
                  <a:pt x="2102176" y="1202330"/>
                  <a:pt x="2216479" y="80336"/>
                </a:cubicBezTo>
                <a:close/>
                <a:moveTo>
                  <a:pt x="2098030" y="0"/>
                </a:moveTo>
                <a:lnTo>
                  <a:pt x="2120412" y="0"/>
                </a:lnTo>
                <a:lnTo>
                  <a:pt x="2116859" y="70117"/>
                </a:lnTo>
                <a:cubicBezTo>
                  <a:pt x="2007691" y="1141666"/>
                  <a:pt x="1099966" y="1980571"/>
                  <a:pt x="1" y="1980571"/>
                </a:cubicBezTo>
                <a:lnTo>
                  <a:pt x="1" y="1958295"/>
                </a:lnTo>
                <a:cubicBezTo>
                  <a:pt x="1088470" y="1958295"/>
                  <a:pt x="1986577" y="1128187"/>
                  <a:pt x="2094588" y="67938"/>
                </a:cubicBezTo>
                <a:close/>
                <a:moveTo>
                  <a:pt x="1975608" y="0"/>
                </a:moveTo>
                <a:lnTo>
                  <a:pt x="1997887" y="0"/>
                </a:lnTo>
                <a:lnTo>
                  <a:pt x="1994968" y="57611"/>
                </a:lnTo>
                <a:cubicBezTo>
                  <a:pt x="1892090" y="1067493"/>
                  <a:pt x="1036676" y="1858047"/>
                  <a:pt x="1" y="1858047"/>
                </a:cubicBezTo>
                <a:lnTo>
                  <a:pt x="1" y="1835771"/>
                </a:lnTo>
                <a:cubicBezTo>
                  <a:pt x="1025181" y="1835771"/>
                  <a:pt x="1871073" y="1053919"/>
                  <a:pt x="1972805" y="55322"/>
                </a:cubicBezTo>
                <a:close/>
                <a:moveTo>
                  <a:pt x="1853193" y="0"/>
                </a:moveTo>
                <a:lnTo>
                  <a:pt x="1875472" y="0"/>
                </a:lnTo>
                <a:lnTo>
                  <a:pt x="1873186" y="45119"/>
                </a:lnTo>
                <a:cubicBezTo>
                  <a:pt x="1776588" y="993350"/>
                  <a:pt x="973388" y="1735650"/>
                  <a:pt x="0" y="1735650"/>
                </a:cubicBezTo>
                <a:lnTo>
                  <a:pt x="0" y="1713374"/>
                </a:lnTo>
                <a:cubicBezTo>
                  <a:pt x="961784" y="1713374"/>
                  <a:pt x="1755557" y="979877"/>
                  <a:pt x="1851022" y="42848"/>
                </a:cubicBezTo>
                <a:close/>
                <a:moveTo>
                  <a:pt x="1730668" y="0"/>
                </a:moveTo>
                <a:lnTo>
                  <a:pt x="1753056" y="0"/>
                </a:lnTo>
                <a:lnTo>
                  <a:pt x="1751404" y="32610"/>
                </a:lnTo>
                <a:cubicBezTo>
                  <a:pt x="1661086" y="919190"/>
                  <a:pt x="910098" y="1613232"/>
                  <a:pt x="0" y="1613232"/>
                </a:cubicBezTo>
                <a:lnTo>
                  <a:pt x="0" y="1590961"/>
                </a:lnTo>
                <a:cubicBezTo>
                  <a:pt x="898495" y="1590961"/>
                  <a:pt x="1639954" y="905712"/>
                  <a:pt x="1729127" y="30432"/>
                </a:cubicBezTo>
                <a:close/>
                <a:moveTo>
                  <a:pt x="1608247" y="0"/>
                </a:moveTo>
                <a:lnTo>
                  <a:pt x="1630525" y="0"/>
                </a:lnTo>
                <a:lnTo>
                  <a:pt x="1629507" y="20086"/>
                </a:lnTo>
                <a:cubicBezTo>
                  <a:pt x="1545469" y="844919"/>
                  <a:pt x="846701" y="1490712"/>
                  <a:pt x="0" y="1490712"/>
                </a:cubicBezTo>
                <a:lnTo>
                  <a:pt x="0" y="1468436"/>
                </a:lnTo>
                <a:cubicBezTo>
                  <a:pt x="835206" y="1468436"/>
                  <a:pt x="1524451" y="831445"/>
                  <a:pt x="1607345" y="17816"/>
                </a:cubicBezTo>
                <a:close/>
                <a:moveTo>
                  <a:pt x="1485833" y="0"/>
                </a:moveTo>
                <a:lnTo>
                  <a:pt x="1508109" y="0"/>
                </a:lnTo>
                <a:lnTo>
                  <a:pt x="1507724" y="7596"/>
                </a:lnTo>
                <a:cubicBezTo>
                  <a:pt x="1429966" y="770778"/>
                  <a:pt x="783416" y="1368317"/>
                  <a:pt x="0" y="1368317"/>
                </a:cubicBezTo>
                <a:lnTo>
                  <a:pt x="0" y="1346041"/>
                </a:lnTo>
                <a:cubicBezTo>
                  <a:pt x="771917" y="1346041"/>
                  <a:pt x="1408949" y="757304"/>
                  <a:pt x="1485563" y="5325"/>
                </a:cubicBezTo>
                <a:close/>
                <a:moveTo>
                  <a:pt x="1362591" y="0"/>
                </a:moveTo>
                <a:lnTo>
                  <a:pt x="1385194" y="0"/>
                </a:lnTo>
                <a:lnTo>
                  <a:pt x="1364797" y="133264"/>
                </a:lnTo>
                <a:cubicBezTo>
                  <a:pt x="1234684" y="767432"/>
                  <a:pt x="672215" y="1245917"/>
                  <a:pt x="0" y="1245917"/>
                </a:cubicBezTo>
                <a:lnTo>
                  <a:pt x="0" y="1223641"/>
                </a:lnTo>
                <a:cubicBezTo>
                  <a:pt x="661385" y="1223641"/>
                  <a:pt x="1214835" y="752908"/>
                  <a:pt x="1342864" y="128894"/>
                </a:cubicBezTo>
                <a:close/>
                <a:moveTo>
                  <a:pt x="1238878" y="0"/>
                </a:moveTo>
                <a:lnTo>
                  <a:pt x="1261388" y="0"/>
                </a:lnTo>
                <a:lnTo>
                  <a:pt x="1244763" y="108614"/>
                </a:lnTo>
                <a:cubicBezTo>
                  <a:pt x="1126083" y="687031"/>
                  <a:pt x="613049" y="1123397"/>
                  <a:pt x="0" y="1123397"/>
                </a:cubicBezTo>
                <a:lnTo>
                  <a:pt x="0" y="1101121"/>
                </a:lnTo>
                <a:cubicBezTo>
                  <a:pt x="602316" y="1101121"/>
                  <a:pt x="1106344" y="672419"/>
                  <a:pt x="1222940" y="104135"/>
                </a:cubicBezTo>
                <a:close/>
                <a:moveTo>
                  <a:pt x="1115178" y="0"/>
                </a:moveTo>
                <a:lnTo>
                  <a:pt x="1137688" y="0"/>
                </a:lnTo>
                <a:lnTo>
                  <a:pt x="1124836" y="83962"/>
                </a:lnTo>
                <a:cubicBezTo>
                  <a:pt x="1017592" y="606647"/>
                  <a:pt x="553979" y="1000978"/>
                  <a:pt x="0" y="1000978"/>
                </a:cubicBezTo>
                <a:lnTo>
                  <a:pt x="0" y="978703"/>
                </a:lnTo>
                <a:cubicBezTo>
                  <a:pt x="543246" y="978703"/>
                  <a:pt x="997852" y="592039"/>
                  <a:pt x="1103012" y="79485"/>
                </a:cubicBezTo>
                <a:close/>
                <a:moveTo>
                  <a:pt x="991375" y="0"/>
                </a:moveTo>
                <a:lnTo>
                  <a:pt x="1013997" y="0"/>
                </a:lnTo>
                <a:lnTo>
                  <a:pt x="1004915" y="59331"/>
                </a:lnTo>
                <a:cubicBezTo>
                  <a:pt x="909100" y="526286"/>
                  <a:pt x="494909" y="878583"/>
                  <a:pt x="0" y="878583"/>
                </a:cubicBezTo>
                <a:lnTo>
                  <a:pt x="0" y="856307"/>
                </a:lnTo>
                <a:cubicBezTo>
                  <a:pt x="484176" y="856307"/>
                  <a:pt x="889272" y="511676"/>
                  <a:pt x="982981" y="54853"/>
                </a:cubicBezTo>
                <a:close/>
                <a:moveTo>
                  <a:pt x="866108" y="0"/>
                </a:moveTo>
                <a:lnTo>
                  <a:pt x="888384" y="0"/>
                </a:lnTo>
                <a:lnTo>
                  <a:pt x="884876" y="34680"/>
                </a:lnTo>
                <a:cubicBezTo>
                  <a:pt x="800495" y="445883"/>
                  <a:pt x="435739" y="756058"/>
                  <a:pt x="0" y="756058"/>
                </a:cubicBezTo>
                <a:lnTo>
                  <a:pt x="0" y="733782"/>
                </a:lnTo>
                <a:cubicBezTo>
                  <a:pt x="425107" y="733782"/>
                  <a:pt x="780781" y="431187"/>
                  <a:pt x="863057" y="30169"/>
                </a:cubicBezTo>
                <a:close/>
                <a:moveTo>
                  <a:pt x="743692" y="0"/>
                </a:moveTo>
                <a:lnTo>
                  <a:pt x="765973" y="0"/>
                </a:lnTo>
                <a:lnTo>
                  <a:pt x="764957" y="10048"/>
                </a:lnTo>
                <a:cubicBezTo>
                  <a:pt x="692029" y="365521"/>
                  <a:pt x="376767" y="633662"/>
                  <a:pt x="0" y="633662"/>
                </a:cubicBezTo>
                <a:lnTo>
                  <a:pt x="0" y="611386"/>
                </a:lnTo>
                <a:cubicBezTo>
                  <a:pt x="365938" y="611386"/>
                  <a:pt x="672265" y="350911"/>
                  <a:pt x="743129" y="5570"/>
                </a:cubicBezTo>
                <a:close/>
                <a:moveTo>
                  <a:pt x="617163" y="0"/>
                </a:moveTo>
                <a:lnTo>
                  <a:pt x="640489" y="0"/>
                </a:lnTo>
                <a:lnTo>
                  <a:pt x="606611" y="108906"/>
                </a:lnTo>
                <a:cubicBezTo>
                  <a:pt x="506524" y="345128"/>
                  <a:pt x="272312" y="511248"/>
                  <a:pt x="0" y="511248"/>
                </a:cubicBezTo>
                <a:lnTo>
                  <a:pt x="0" y="488972"/>
                </a:lnTo>
                <a:cubicBezTo>
                  <a:pt x="263030" y="488972"/>
                  <a:pt x="489290" y="328485"/>
                  <a:pt x="585980" y="100252"/>
                </a:cubicBezTo>
                <a:close/>
                <a:moveTo>
                  <a:pt x="489561" y="0"/>
                </a:moveTo>
                <a:lnTo>
                  <a:pt x="512789" y="0"/>
                </a:lnTo>
                <a:lnTo>
                  <a:pt x="493721" y="61289"/>
                </a:lnTo>
                <a:cubicBezTo>
                  <a:pt x="412246" y="253561"/>
                  <a:pt x="221597" y="388735"/>
                  <a:pt x="0" y="388735"/>
                </a:cubicBezTo>
                <a:lnTo>
                  <a:pt x="0" y="366459"/>
                </a:lnTo>
                <a:cubicBezTo>
                  <a:pt x="212399" y="366459"/>
                  <a:pt x="395116" y="236854"/>
                  <a:pt x="473199" y="52587"/>
                </a:cubicBezTo>
                <a:close/>
                <a:moveTo>
                  <a:pt x="361966" y="0"/>
                </a:moveTo>
                <a:lnTo>
                  <a:pt x="385181" y="0"/>
                </a:lnTo>
                <a:lnTo>
                  <a:pt x="380937" y="13636"/>
                </a:lnTo>
                <a:cubicBezTo>
                  <a:pt x="318070" y="161973"/>
                  <a:pt x="170965" y="266328"/>
                  <a:pt x="0" y="266328"/>
                </a:cubicBezTo>
                <a:lnTo>
                  <a:pt x="0" y="244052"/>
                </a:lnTo>
                <a:cubicBezTo>
                  <a:pt x="161767" y="244052"/>
                  <a:pt x="300940" y="145329"/>
                  <a:pt x="360416" y="4982"/>
                </a:cubicBezTo>
                <a:close/>
                <a:moveTo>
                  <a:pt x="218905" y="0"/>
                </a:moveTo>
                <a:lnTo>
                  <a:pt x="249720" y="0"/>
                </a:lnTo>
                <a:lnTo>
                  <a:pt x="241311" y="15475"/>
                </a:lnTo>
                <a:cubicBezTo>
                  <a:pt x="188962" y="92909"/>
                  <a:pt x="100349" y="143932"/>
                  <a:pt x="0" y="143932"/>
                </a:cubicBezTo>
                <a:lnTo>
                  <a:pt x="0" y="121656"/>
                </a:lnTo>
                <a:cubicBezTo>
                  <a:pt x="74091" y="121656"/>
                  <a:pt x="141290" y="91533"/>
                  <a:pt x="189966" y="42875"/>
                </a:cubicBezTo>
                <a:close/>
              </a:path>
            </a:pathLst>
          </a:custGeom>
          <a:solidFill>
            <a:schemeClr val="accent3">
              <a:lumMod val="20000"/>
              <a:lumOff val="80000"/>
            </a:schemeClr>
          </a:solidFill>
          <a:ln w="458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dirty="0">
              <a:solidFill>
                <a:schemeClr val="tx1"/>
              </a:solidFill>
            </a:endParaRPr>
          </a:p>
        </p:txBody>
      </p:sp>
      <p:sp>
        <p:nvSpPr>
          <p:cNvPr id="3" name="Footer Placeholder 2"/>
          <p:cNvSpPr>
            <a:spLocks noGrp="1"/>
          </p:cNvSpPr>
          <p:nvPr>
            <p:ph type="ftr" sz="quarter" idx="11"/>
          </p:nvPr>
        </p:nvSpPr>
        <p:spPr/>
        <p:txBody>
          <a:bodyPr/>
          <a:lstStyle/>
          <a:p>
            <a:r>
              <a:rPr lang="en-US"/>
              <a:t>Presentation title</a:t>
            </a:r>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578267012"/>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ADFAE2CB-0EAD-E788-FCB7-FB12F6939199}"/>
              </a:ext>
            </a:extLst>
          </p:cNvPr>
          <p:cNvSpPr/>
          <p:nvPr userDrawn="1"/>
        </p:nvSpPr>
        <p:spPr>
          <a:xfrm flipH="1" flipV="1">
            <a:off x="9949173" y="4755034"/>
            <a:ext cx="2242827" cy="2102966"/>
          </a:xfrm>
          <a:custGeom>
            <a:avLst/>
            <a:gdLst>
              <a:gd name="connsiteX0" fmla="*/ 2220549 w 2242827"/>
              <a:gd name="connsiteY0" fmla="*/ 0 h 2102966"/>
              <a:gd name="connsiteX1" fmla="*/ 2242827 w 2242827"/>
              <a:gd name="connsiteY1" fmla="*/ 0 h 2102966"/>
              <a:gd name="connsiteX2" fmla="*/ 2238641 w 2242827"/>
              <a:gd name="connsiteY2" fmla="*/ 82607 h 2102966"/>
              <a:gd name="connsiteX3" fmla="*/ 1 w 2242827"/>
              <a:gd name="connsiteY3" fmla="*/ 2102966 h 2102966"/>
              <a:gd name="connsiteX4" fmla="*/ 1 w 2242827"/>
              <a:gd name="connsiteY4" fmla="*/ 2080690 h 2102966"/>
              <a:gd name="connsiteX5" fmla="*/ 2216479 w 2242827"/>
              <a:gd name="connsiteY5" fmla="*/ 80336 h 2102966"/>
              <a:gd name="connsiteX6" fmla="*/ 2098030 w 2242827"/>
              <a:gd name="connsiteY6" fmla="*/ 0 h 2102966"/>
              <a:gd name="connsiteX7" fmla="*/ 2120412 w 2242827"/>
              <a:gd name="connsiteY7" fmla="*/ 0 h 2102966"/>
              <a:gd name="connsiteX8" fmla="*/ 2116859 w 2242827"/>
              <a:gd name="connsiteY8" fmla="*/ 70117 h 2102966"/>
              <a:gd name="connsiteX9" fmla="*/ 1 w 2242827"/>
              <a:gd name="connsiteY9" fmla="*/ 1980571 h 2102966"/>
              <a:gd name="connsiteX10" fmla="*/ 1 w 2242827"/>
              <a:gd name="connsiteY10" fmla="*/ 1958295 h 2102966"/>
              <a:gd name="connsiteX11" fmla="*/ 2094588 w 2242827"/>
              <a:gd name="connsiteY11" fmla="*/ 67938 h 2102966"/>
              <a:gd name="connsiteX12" fmla="*/ 1975608 w 2242827"/>
              <a:gd name="connsiteY12" fmla="*/ 0 h 2102966"/>
              <a:gd name="connsiteX13" fmla="*/ 1997887 w 2242827"/>
              <a:gd name="connsiteY13" fmla="*/ 0 h 2102966"/>
              <a:gd name="connsiteX14" fmla="*/ 1994968 w 2242827"/>
              <a:gd name="connsiteY14" fmla="*/ 57611 h 2102966"/>
              <a:gd name="connsiteX15" fmla="*/ 1 w 2242827"/>
              <a:gd name="connsiteY15" fmla="*/ 1858047 h 2102966"/>
              <a:gd name="connsiteX16" fmla="*/ 1 w 2242827"/>
              <a:gd name="connsiteY16" fmla="*/ 1835771 h 2102966"/>
              <a:gd name="connsiteX17" fmla="*/ 1972805 w 2242827"/>
              <a:gd name="connsiteY17" fmla="*/ 55322 h 2102966"/>
              <a:gd name="connsiteX18" fmla="*/ 1853193 w 2242827"/>
              <a:gd name="connsiteY18" fmla="*/ 0 h 2102966"/>
              <a:gd name="connsiteX19" fmla="*/ 1875472 w 2242827"/>
              <a:gd name="connsiteY19" fmla="*/ 0 h 2102966"/>
              <a:gd name="connsiteX20" fmla="*/ 1873186 w 2242827"/>
              <a:gd name="connsiteY20" fmla="*/ 45119 h 2102966"/>
              <a:gd name="connsiteX21" fmla="*/ 0 w 2242827"/>
              <a:gd name="connsiteY21" fmla="*/ 1735650 h 2102966"/>
              <a:gd name="connsiteX22" fmla="*/ 0 w 2242827"/>
              <a:gd name="connsiteY22" fmla="*/ 1713374 h 2102966"/>
              <a:gd name="connsiteX23" fmla="*/ 1851022 w 2242827"/>
              <a:gd name="connsiteY23" fmla="*/ 42848 h 2102966"/>
              <a:gd name="connsiteX24" fmla="*/ 1730668 w 2242827"/>
              <a:gd name="connsiteY24" fmla="*/ 0 h 2102966"/>
              <a:gd name="connsiteX25" fmla="*/ 1753056 w 2242827"/>
              <a:gd name="connsiteY25" fmla="*/ 0 h 2102966"/>
              <a:gd name="connsiteX26" fmla="*/ 1751404 w 2242827"/>
              <a:gd name="connsiteY26" fmla="*/ 32610 h 2102966"/>
              <a:gd name="connsiteX27" fmla="*/ 0 w 2242827"/>
              <a:gd name="connsiteY27" fmla="*/ 1613232 h 2102966"/>
              <a:gd name="connsiteX28" fmla="*/ 0 w 2242827"/>
              <a:gd name="connsiteY28" fmla="*/ 1590961 h 2102966"/>
              <a:gd name="connsiteX29" fmla="*/ 1729127 w 2242827"/>
              <a:gd name="connsiteY29" fmla="*/ 30432 h 2102966"/>
              <a:gd name="connsiteX30" fmla="*/ 1608247 w 2242827"/>
              <a:gd name="connsiteY30" fmla="*/ 0 h 2102966"/>
              <a:gd name="connsiteX31" fmla="*/ 1630525 w 2242827"/>
              <a:gd name="connsiteY31" fmla="*/ 0 h 2102966"/>
              <a:gd name="connsiteX32" fmla="*/ 1629507 w 2242827"/>
              <a:gd name="connsiteY32" fmla="*/ 20086 h 2102966"/>
              <a:gd name="connsiteX33" fmla="*/ 0 w 2242827"/>
              <a:gd name="connsiteY33" fmla="*/ 1490712 h 2102966"/>
              <a:gd name="connsiteX34" fmla="*/ 0 w 2242827"/>
              <a:gd name="connsiteY34" fmla="*/ 1468436 h 2102966"/>
              <a:gd name="connsiteX35" fmla="*/ 1607345 w 2242827"/>
              <a:gd name="connsiteY35" fmla="*/ 17816 h 2102966"/>
              <a:gd name="connsiteX36" fmla="*/ 1485833 w 2242827"/>
              <a:gd name="connsiteY36" fmla="*/ 0 h 2102966"/>
              <a:gd name="connsiteX37" fmla="*/ 1508109 w 2242827"/>
              <a:gd name="connsiteY37" fmla="*/ 0 h 2102966"/>
              <a:gd name="connsiteX38" fmla="*/ 1507724 w 2242827"/>
              <a:gd name="connsiteY38" fmla="*/ 7596 h 2102966"/>
              <a:gd name="connsiteX39" fmla="*/ 0 w 2242827"/>
              <a:gd name="connsiteY39" fmla="*/ 1368317 h 2102966"/>
              <a:gd name="connsiteX40" fmla="*/ 0 w 2242827"/>
              <a:gd name="connsiteY40" fmla="*/ 1346041 h 2102966"/>
              <a:gd name="connsiteX41" fmla="*/ 1485563 w 2242827"/>
              <a:gd name="connsiteY41" fmla="*/ 5325 h 2102966"/>
              <a:gd name="connsiteX42" fmla="*/ 1362591 w 2242827"/>
              <a:gd name="connsiteY42" fmla="*/ 0 h 2102966"/>
              <a:gd name="connsiteX43" fmla="*/ 1385194 w 2242827"/>
              <a:gd name="connsiteY43" fmla="*/ 0 h 2102966"/>
              <a:gd name="connsiteX44" fmla="*/ 1364797 w 2242827"/>
              <a:gd name="connsiteY44" fmla="*/ 133264 h 2102966"/>
              <a:gd name="connsiteX45" fmla="*/ 0 w 2242827"/>
              <a:gd name="connsiteY45" fmla="*/ 1245917 h 2102966"/>
              <a:gd name="connsiteX46" fmla="*/ 0 w 2242827"/>
              <a:gd name="connsiteY46" fmla="*/ 1223641 h 2102966"/>
              <a:gd name="connsiteX47" fmla="*/ 1342864 w 2242827"/>
              <a:gd name="connsiteY47" fmla="*/ 128894 h 2102966"/>
              <a:gd name="connsiteX48" fmla="*/ 1238878 w 2242827"/>
              <a:gd name="connsiteY48" fmla="*/ 0 h 2102966"/>
              <a:gd name="connsiteX49" fmla="*/ 1261388 w 2242827"/>
              <a:gd name="connsiteY49" fmla="*/ 0 h 2102966"/>
              <a:gd name="connsiteX50" fmla="*/ 1244763 w 2242827"/>
              <a:gd name="connsiteY50" fmla="*/ 108614 h 2102966"/>
              <a:gd name="connsiteX51" fmla="*/ 0 w 2242827"/>
              <a:gd name="connsiteY51" fmla="*/ 1123397 h 2102966"/>
              <a:gd name="connsiteX52" fmla="*/ 0 w 2242827"/>
              <a:gd name="connsiteY52" fmla="*/ 1101121 h 2102966"/>
              <a:gd name="connsiteX53" fmla="*/ 1222940 w 2242827"/>
              <a:gd name="connsiteY53" fmla="*/ 104135 h 2102966"/>
              <a:gd name="connsiteX54" fmla="*/ 1115178 w 2242827"/>
              <a:gd name="connsiteY54" fmla="*/ 0 h 2102966"/>
              <a:gd name="connsiteX55" fmla="*/ 1137688 w 2242827"/>
              <a:gd name="connsiteY55" fmla="*/ 0 h 2102966"/>
              <a:gd name="connsiteX56" fmla="*/ 1124836 w 2242827"/>
              <a:gd name="connsiteY56" fmla="*/ 83962 h 2102966"/>
              <a:gd name="connsiteX57" fmla="*/ 0 w 2242827"/>
              <a:gd name="connsiteY57" fmla="*/ 1000978 h 2102966"/>
              <a:gd name="connsiteX58" fmla="*/ 0 w 2242827"/>
              <a:gd name="connsiteY58" fmla="*/ 978703 h 2102966"/>
              <a:gd name="connsiteX59" fmla="*/ 1103012 w 2242827"/>
              <a:gd name="connsiteY59" fmla="*/ 79485 h 2102966"/>
              <a:gd name="connsiteX60" fmla="*/ 991375 w 2242827"/>
              <a:gd name="connsiteY60" fmla="*/ 0 h 2102966"/>
              <a:gd name="connsiteX61" fmla="*/ 1013997 w 2242827"/>
              <a:gd name="connsiteY61" fmla="*/ 0 h 2102966"/>
              <a:gd name="connsiteX62" fmla="*/ 1004915 w 2242827"/>
              <a:gd name="connsiteY62" fmla="*/ 59331 h 2102966"/>
              <a:gd name="connsiteX63" fmla="*/ 0 w 2242827"/>
              <a:gd name="connsiteY63" fmla="*/ 878583 h 2102966"/>
              <a:gd name="connsiteX64" fmla="*/ 0 w 2242827"/>
              <a:gd name="connsiteY64" fmla="*/ 856307 h 2102966"/>
              <a:gd name="connsiteX65" fmla="*/ 982981 w 2242827"/>
              <a:gd name="connsiteY65" fmla="*/ 54853 h 2102966"/>
              <a:gd name="connsiteX66" fmla="*/ 866108 w 2242827"/>
              <a:gd name="connsiteY66" fmla="*/ 0 h 2102966"/>
              <a:gd name="connsiteX67" fmla="*/ 888384 w 2242827"/>
              <a:gd name="connsiteY67" fmla="*/ 0 h 2102966"/>
              <a:gd name="connsiteX68" fmla="*/ 884876 w 2242827"/>
              <a:gd name="connsiteY68" fmla="*/ 34680 h 2102966"/>
              <a:gd name="connsiteX69" fmla="*/ 0 w 2242827"/>
              <a:gd name="connsiteY69" fmla="*/ 756058 h 2102966"/>
              <a:gd name="connsiteX70" fmla="*/ 0 w 2242827"/>
              <a:gd name="connsiteY70" fmla="*/ 733782 h 2102966"/>
              <a:gd name="connsiteX71" fmla="*/ 863057 w 2242827"/>
              <a:gd name="connsiteY71" fmla="*/ 30169 h 2102966"/>
              <a:gd name="connsiteX72" fmla="*/ 743692 w 2242827"/>
              <a:gd name="connsiteY72" fmla="*/ 0 h 2102966"/>
              <a:gd name="connsiteX73" fmla="*/ 765973 w 2242827"/>
              <a:gd name="connsiteY73" fmla="*/ 0 h 2102966"/>
              <a:gd name="connsiteX74" fmla="*/ 764957 w 2242827"/>
              <a:gd name="connsiteY74" fmla="*/ 10048 h 2102966"/>
              <a:gd name="connsiteX75" fmla="*/ 0 w 2242827"/>
              <a:gd name="connsiteY75" fmla="*/ 633662 h 2102966"/>
              <a:gd name="connsiteX76" fmla="*/ 0 w 2242827"/>
              <a:gd name="connsiteY76" fmla="*/ 611386 h 2102966"/>
              <a:gd name="connsiteX77" fmla="*/ 743129 w 2242827"/>
              <a:gd name="connsiteY77" fmla="*/ 5570 h 2102966"/>
              <a:gd name="connsiteX78" fmla="*/ 617163 w 2242827"/>
              <a:gd name="connsiteY78" fmla="*/ 0 h 2102966"/>
              <a:gd name="connsiteX79" fmla="*/ 640489 w 2242827"/>
              <a:gd name="connsiteY79" fmla="*/ 0 h 2102966"/>
              <a:gd name="connsiteX80" fmla="*/ 606611 w 2242827"/>
              <a:gd name="connsiteY80" fmla="*/ 108906 h 2102966"/>
              <a:gd name="connsiteX81" fmla="*/ 0 w 2242827"/>
              <a:gd name="connsiteY81" fmla="*/ 511248 h 2102966"/>
              <a:gd name="connsiteX82" fmla="*/ 0 w 2242827"/>
              <a:gd name="connsiteY82" fmla="*/ 488972 h 2102966"/>
              <a:gd name="connsiteX83" fmla="*/ 585980 w 2242827"/>
              <a:gd name="connsiteY83" fmla="*/ 100252 h 2102966"/>
              <a:gd name="connsiteX84" fmla="*/ 489561 w 2242827"/>
              <a:gd name="connsiteY84" fmla="*/ 0 h 2102966"/>
              <a:gd name="connsiteX85" fmla="*/ 512789 w 2242827"/>
              <a:gd name="connsiteY85" fmla="*/ 0 h 2102966"/>
              <a:gd name="connsiteX86" fmla="*/ 493721 w 2242827"/>
              <a:gd name="connsiteY86" fmla="*/ 61289 h 2102966"/>
              <a:gd name="connsiteX87" fmla="*/ 0 w 2242827"/>
              <a:gd name="connsiteY87" fmla="*/ 388735 h 2102966"/>
              <a:gd name="connsiteX88" fmla="*/ 0 w 2242827"/>
              <a:gd name="connsiteY88" fmla="*/ 366459 h 2102966"/>
              <a:gd name="connsiteX89" fmla="*/ 473199 w 2242827"/>
              <a:gd name="connsiteY89" fmla="*/ 52587 h 2102966"/>
              <a:gd name="connsiteX90" fmla="*/ 361966 w 2242827"/>
              <a:gd name="connsiteY90" fmla="*/ 0 h 2102966"/>
              <a:gd name="connsiteX91" fmla="*/ 385181 w 2242827"/>
              <a:gd name="connsiteY91" fmla="*/ 0 h 2102966"/>
              <a:gd name="connsiteX92" fmla="*/ 380937 w 2242827"/>
              <a:gd name="connsiteY92" fmla="*/ 13636 h 2102966"/>
              <a:gd name="connsiteX93" fmla="*/ 0 w 2242827"/>
              <a:gd name="connsiteY93" fmla="*/ 266328 h 2102966"/>
              <a:gd name="connsiteX94" fmla="*/ 0 w 2242827"/>
              <a:gd name="connsiteY94" fmla="*/ 244052 h 2102966"/>
              <a:gd name="connsiteX95" fmla="*/ 360416 w 2242827"/>
              <a:gd name="connsiteY95" fmla="*/ 4982 h 2102966"/>
              <a:gd name="connsiteX96" fmla="*/ 218905 w 2242827"/>
              <a:gd name="connsiteY96" fmla="*/ 0 h 2102966"/>
              <a:gd name="connsiteX97" fmla="*/ 249720 w 2242827"/>
              <a:gd name="connsiteY97" fmla="*/ 0 h 2102966"/>
              <a:gd name="connsiteX98" fmla="*/ 241311 w 2242827"/>
              <a:gd name="connsiteY98" fmla="*/ 15475 h 2102966"/>
              <a:gd name="connsiteX99" fmla="*/ 0 w 2242827"/>
              <a:gd name="connsiteY99" fmla="*/ 143932 h 2102966"/>
              <a:gd name="connsiteX100" fmla="*/ 0 w 2242827"/>
              <a:gd name="connsiteY100" fmla="*/ 121656 h 2102966"/>
              <a:gd name="connsiteX101" fmla="*/ 189966 w 2242827"/>
              <a:gd name="connsiteY101" fmla="*/ 42875 h 2102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2242827" h="2102966">
                <a:moveTo>
                  <a:pt x="2220549" y="0"/>
                </a:moveTo>
                <a:lnTo>
                  <a:pt x="2242827" y="0"/>
                </a:lnTo>
                <a:lnTo>
                  <a:pt x="2238641" y="82607"/>
                </a:lnTo>
                <a:cubicBezTo>
                  <a:pt x="2123193" y="1215807"/>
                  <a:pt x="1163255" y="2102966"/>
                  <a:pt x="1" y="2102966"/>
                </a:cubicBezTo>
                <a:lnTo>
                  <a:pt x="1" y="2080690"/>
                </a:lnTo>
                <a:cubicBezTo>
                  <a:pt x="1151759" y="2080690"/>
                  <a:pt x="2102176" y="1202330"/>
                  <a:pt x="2216479" y="80336"/>
                </a:cubicBezTo>
                <a:close/>
                <a:moveTo>
                  <a:pt x="2098030" y="0"/>
                </a:moveTo>
                <a:lnTo>
                  <a:pt x="2120412" y="0"/>
                </a:lnTo>
                <a:lnTo>
                  <a:pt x="2116859" y="70117"/>
                </a:lnTo>
                <a:cubicBezTo>
                  <a:pt x="2007691" y="1141666"/>
                  <a:pt x="1099966" y="1980571"/>
                  <a:pt x="1" y="1980571"/>
                </a:cubicBezTo>
                <a:lnTo>
                  <a:pt x="1" y="1958295"/>
                </a:lnTo>
                <a:cubicBezTo>
                  <a:pt x="1088470" y="1958295"/>
                  <a:pt x="1986577" y="1128187"/>
                  <a:pt x="2094588" y="67938"/>
                </a:cubicBezTo>
                <a:close/>
                <a:moveTo>
                  <a:pt x="1975608" y="0"/>
                </a:moveTo>
                <a:lnTo>
                  <a:pt x="1997887" y="0"/>
                </a:lnTo>
                <a:lnTo>
                  <a:pt x="1994968" y="57611"/>
                </a:lnTo>
                <a:cubicBezTo>
                  <a:pt x="1892090" y="1067493"/>
                  <a:pt x="1036676" y="1858047"/>
                  <a:pt x="1" y="1858047"/>
                </a:cubicBezTo>
                <a:lnTo>
                  <a:pt x="1" y="1835771"/>
                </a:lnTo>
                <a:cubicBezTo>
                  <a:pt x="1025181" y="1835771"/>
                  <a:pt x="1871073" y="1053919"/>
                  <a:pt x="1972805" y="55322"/>
                </a:cubicBezTo>
                <a:close/>
                <a:moveTo>
                  <a:pt x="1853193" y="0"/>
                </a:moveTo>
                <a:lnTo>
                  <a:pt x="1875472" y="0"/>
                </a:lnTo>
                <a:lnTo>
                  <a:pt x="1873186" y="45119"/>
                </a:lnTo>
                <a:cubicBezTo>
                  <a:pt x="1776588" y="993350"/>
                  <a:pt x="973388" y="1735650"/>
                  <a:pt x="0" y="1735650"/>
                </a:cubicBezTo>
                <a:lnTo>
                  <a:pt x="0" y="1713374"/>
                </a:lnTo>
                <a:cubicBezTo>
                  <a:pt x="961784" y="1713374"/>
                  <a:pt x="1755557" y="979877"/>
                  <a:pt x="1851022" y="42848"/>
                </a:cubicBezTo>
                <a:close/>
                <a:moveTo>
                  <a:pt x="1730668" y="0"/>
                </a:moveTo>
                <a:lnTo>
                  <a:pt x="1753056" y="0"/>
                </a:lnTo>
                <a:lnTo>
                  <a:pt x="1751404" y="32610"/>
                </a:lnTo>
                <a:cubicBezTo>
                  <a:pt x="1661086" y="919190"/>
                  <a:pt x="910098" y="1613232"/>
                  <a:pt x="0" y="1613232"/>
                </a:cubicBezTo>
                <a:lnTo>
                  <a:pt x="0" y="1590961"/>
                </a:lnTo>
                <a:cubicBezTo>
                  <a:pt x="898495" y="1590961"/>
                  <a:pt x="1639954" y="905712"/>
                  <a:pt x="1729127" y="30432"/>
                </a:cubicBezTo>
                <a:close/>
                <a:moveTo>
                  <a:pt x="1608247" y="0"/>
                </a:moveTo>
                <a:lnTo>
                  <a:pt x="1630525" y="0"/>
                </a:lnTo>
                <a:lnTo>
                  <a:pt x="1629507" y="20086"/>
                </a:lnTo>
                <a:cubicBezTo>
                  <a:pt x="1545469" y="844919"/>
                  <a:pt x="846701" y="1490712"/>
                  <a:pt x="0" y="1490712"/>
                </a:cubicBezTo>
                <a:lnTo>
                  <a:pt x="0" y="1468436"/>
                </a:lnTo>
                <a:cubicBezTo>
                  <a:pt x="835206" y="1468436"/>
                  <a:pt x="1524451" y="831445"/>
                  <a:pt x="1607345" y="17816"/>
                </a:cubicBezTo>
                <a:close/>
                <a:moveTo>
                  <a:pt x="1485833" y="0"/>
                </a:moveTo>
                <a:lnTo>
                  <a:pt x="1508109" y="0"/>
                </a:lnTo>
                <a:lnTo>
                  <a:pt x="1507724" y="7596"/>
                </a:lnTo>
                <a:cubicBezTo>
                  <a:pt x="1429966" y="770778"/>
                  <a:pt x="783416" y="1368317"/>
                  <a:pt x="0" y="1368317"/>
                </a:cubicBezTo>
                <a:lnTo>
                  <a:pt x="0" y="1346041"/>
                </a:lnTo>
                <a:cubicBezTo>
                  <a:pt x="771917" y="1346041"/>
                  <a:pt x="1408949" y="757304"/>
                  <a:pt x="1485563" y="5325"/>
                </a:cubicBezTo>
                <a:close/>
                <a:moveTo>
                  <a:pt x="1362591" y="0"/>
                </a:moveTo>
                <a:lnTo>
                  <a:pt x="1385194" y="0"/>
                </a:lnTo>
                <a:lnTo>
                  <a:pt x="1364797" y="133264"/>
                </a:lnTo>
                <a:cubicBezTo>
                  <a:pt x="1234684" y="767432"/>
                  <a:pt x="672215" y="1245917"/>
                  <a:pt x="0" y="1245917"/>
                </a:cubicBezTo>
                <a:lnTo>
                  <a:pt x="0" y="1223641"/>
                </a:lnTo>
                <a:cubicBezTo>
                  <a:pt x="661385" y="1223641"/>
                  <a:pt x="1214835" y="752908"/>
                  <a:pt x="1342864" y="128894"/>
                </a:cubicBezTo>
                <a:close/>
                <a:moveTo>
                  <a:pt x="1238878" y="0"/>
                </a:moveTo>
                <a:lnTo>
                  <a:pt x="1261388" y="0"/>
                </a:lnTo>
                <a:lnTo>
                  <a:pt x="1244763" y="108614"/>
                </a:lnTo>
                <a:cubicBezTo>
                  <a:pt x="1126083" y="687031"/>
                  <a:pt x="613049" y="1123397"/>
                  <a:pt x="0" y="1123397"/>
                </a:cubicBezTo>
                <a:lnTo>
                  <a:pt x="0" y="1101121"/>
                </a:lnTo>
                <a:cubicBezTo>
                  <a:pt x="602316" y="1101121"/>
                  <a:pt x="1106344" y="672419"/>
                  <a:pt x="1222940" y="104135"/>
                </a:cubicBezTo>
                <a:close/>
                <a:moveTo>
                  <a:pt x="1115178" y="0"/>
                </a:moveTo>
                <a:lnTo>
                  <a:pt x="1137688" y="0"/>
                </a:lnTo>
                <a:lnTo>
                  <a:pt x="1124836" y="83962"/>
                </a:lnTo>
                <a:cubicBezTo>
                  <a:pt x="1017592" y="606647"/>
                  <a:pt x="553979" y="1000978"/>
                  <a:pt x="0" y="1000978"/>
                </a:cubicBezTo>
                <a:lnTo>
                  <a:pt x="0" y="978703"/>
                </a:lnTo>
                <a:cubicBezTo>
                  <a:pt x="543246" y="978703"/>
                  <a:pt x="997852" y="592039"/>
                  <a:pt x="1103012" y="79485"/>
                </a:cubicBezTo>
                <a:close/>
                <a:moveTo>
                  <a:pt x="991375" y="0"/>
                </a:moveTo>
                <a:lnTo>
                  <a:pt x="1013997" y="0"/>
                </a:lnTo>
                <a:lnTo>
                  <a:pt x="1004915" y="59331"/>
                </a:lnTo>
                <a:cubicBezTo>
                  <a:pt x="909100" y="526286"/>
                  <a:pt x="494909" y="878583"/>
                  <a:pt x="0" y="878583"/>
                </a:cubicBezTo>
                <a:lnTo>
                  <a:pt x="0" y="856307"/>
                </a:lnTo>
                <a:cubicBezTo>
                  <a:pt x="484176" y="856307"/>
                  <a:pt x="889272" y="511676"/>
                  <a:pt x="982981" y="54853"/>
                </a:cubicBezTo>
                <a:close/>
                <a:moveTo>
                  <a:pt x="866108" y="0"/>
                </a:moveTo>
                <a:lnTo>
                  <a:pt x="888384" y="0"/>
                </a:lnTo>
                <a:lnTo>
                  <a:pt x="884876" y="34680"/>
                </a:lnTo>
                <a:cubicBezTo>
                  <a:pt x="800495" y="445883"/>
                  <a:pt x="435739" y="756058"/>
                  <a:pt x="0" y="756058"/>
                </a:cubicBezTo>
                <a:lnTo>
                  <a:pt x="0" y="733782"/>
                </a:lnTo>
                <a:cubicBezTo>
                  <a:pt x="425107" y="733782"/>
                  <a:pt x="780781" y="431187"/>
                  <a:pt x="863057" y="30169"/>
                </a:cubicBezTo>
                <a:close/>
                <a:moveTo>
                  <a:pt x="743692" y="0"/>
                </a:moveTo>
                <a:lnTo>
                  <a:pt x="765973" y="0"/>
                </a:lnTo>
                <a:lnTo>
                  <a:pt x="764957" y="10048"/>
                </a:lnTo>
                <a:cubicBezTo>
                  <a:pt x="692029" y="365521"/>
                  <a:pt x="376767" y="633662"/>
                  <a:pt x="0" y="633662"/>
                </a:cubicBezTo>
                <a:lnTo>
                  <a:pt x="0" y="611386"/>
                </a:lnTo>
                <a:cubicBezTo>
                  <a:pt x="365938" y="611386"/>
                  <a:pt x="672265" y="350911"/>
                  <a:pt x="743129" y="5570"/>
                </a:cubicBezTo>
                <a:close/>
                <a:moveTo>
                  <a:pt x="617163" y="0"/>
                </a:moveTo>
                <a:lnTo>
                  <a:pt x="640489" y="0"/>
                </a:lnTo>
                <a:lnTo>
                  <a:pt x="606611" y="108906"/>
                </a:lnTo>
                <a:cubicBezTo>
                  <a:pt x="506524" y="345128"/>
                  <a:pt x="272312" y="511248"/>
                  <a:pt x="0" y="511248"/>
                </a:cubicBezTo>
                <a:lnTo>
                  <a:pt x="0" y="488972"/>
                </a:lnTo>
                <a:cubicBezTo>
                  <a:pt x="263030" y="488972"/>
                  <a:pt x="489290" y="328485"/>
                  <a:pt x="585980" y="100252"/>
                </a:cubicBezTo>
                <a:close/>
                <a:moveTo>
                  <a:pt x="489561" y="0"/>
                </a:moveTo>
                <a:lnTo>
                  <a:pt x="512789" y="0"/>
                </a:lnTo>
                <a:lnTo>
                  <a:pt x="493721" y="61289"/>
                </a:lnTo>
                <a:cubicBezTo>
                  <a:pt x="412246" y="253561"/>
                  <a:pt x="221597" y="388735"/>
                  <a:pt x="0" y="388735"/>
                </a:cubicBezTo>
                <a:lnTo>
                  <a:pt x="0" y="366459"/>
                </a:lnTo>
                <a:cubicBezTo>
                  <a:pt x="212399" y="366459"/>
                  <a:pt x="395116" y="236854"/>
                  <a:pt x="473199" y="52587"/>
                </a:cubicBezTo>
                <a:close/>
                <a:moveTo>
                  <a:pt x="361966" y="0"/>
                </a:moveTo>
                <a:lnTo>
                  <a:pt x="385181" y="0"/>
                </a:lnTo>
                <a:lnTo>
                  <a:pt x="380937" y="13636"/>
                </a:lnTo>
                <a:cubicBezTo>
                  <a:pt x="318070" y="161973"/>
                  <a:pt x="170965" y="266328"/>
                  <a:pt x="0" y="266328"/>
                </a:cubicBezTo>
                <a:lnTo>
                  <a:pt x="0" y="244052"/>
                </a:lnTo>
                <a:cubicBezTo>
                  <a:pt x="161767" y="244052"/>
                  <a:pt x="300940" y="145329"/>
                  <a:pt x="360416" y="4982"/>
                </a:cubicBezTo>
                <a:close/>
                <a:moveTo>
                  <a:pt x="218905" y="0"/>
                </a:moveTo>
                <a:lnTo>
                  <a:pt x="249720" y="0"/>
                </a:lnTo>
                <a:lnTo>
                  <a:pt x="241311" y="15475"/>
                </a:lnTo>
                <a:cubicBezTo>
                  <a:pt x="188962" y="92909"/>
                  <a:pt x="100349" y="143932"/>
                  <a:pt x="0" y="143932"/>
                </a:cubicBezTo>
                <a:lnTo>
                  <a:pt x="0" y="121656"/>
                </a:lnTo>
                <a:cubicBezTo>
                  <a:pt x="74091" y="121656"/>
                  <a:pt x="141290" y="91533"/>
                  <a:pt x="189966" y="42875"/>
                </a:cubicBezTo>
                <a:close/>
              </a:path>
            </a:pathLst>
          </a:custGeom>
          <a:solidFill>
            <a:schemeClr val="accent3">
              <a:lumMod val="20000"/>
              <a:lumOff val="80000"/>
            </a:schemeClr>
          </a:solidFill>
          <a:ln w="458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dirty="0">
              <a:solidFill>
                <a:schemeClr val="tx1"/>
              </a:solidFill>
            </a:endParaRPr>
          </a:p>
        </p:txBody>
      </p:sp>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p:cNvSpPr>
            <a:spLocks noGrp="1"/>
          </p:cNvSpPr>
          <p:nvPr>
            <p:ph type="ftr" sz="quarter" idx="11"/>
          </p:nvPr>
        </p:nvSpPr>
        <p:spPr/>
        <p:txBody>
          <a:bodyPr/>
          <a:lstStyle/>
          <a:p>
            <a:r>
              <a:rPr lang="en-US"/>
              <a:t>Presentation title</a:t>
            </a:r>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635815226"/>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11" name="Freeform: Shape 10">
            <a:extLst>
              <a:ext uri="{FF2B5EF4-FFF2-40B4-BE49-F238E27FC236}">
                <a16:creationId xmlns:a16="http://schemas.microsoft.com/office/drawing/2014/main" id="{CAA6B609-D718-DB49-892F-7E49376CC913}"/>
              </a:ext>
            </a:extLst>
          </p:cNvPr>
          <p:cNvSpPr/>
          <p:nvPr userDrawn="1"/>
        </p:nvSpPr>
        <p:spPr>
          <a:xfrm flipH="1" flipV="1">
            <a:off x="9949173" y="4755034"/>
            <a:ext cx="2242827" cy="2102966"/>
          </a:xfrm>
          <a:custGeom>
            <a:avLst/>
            <a:gdLst>
              <a:gd name="connsiteX0" fmla="*/ 2220549 w 2242827"/>
              <a:gd name="connsiteY0" fmla="*/ 0 h 2102966"/>
              <a:gd name="connsiteX1" fmla="*/ 2242827 w 2242827"/>
              <a:gd name="connsiteY1" fmla="*/ 0 h 2102966"/>
              <a:gd name="connsiteX2" fmla="*/ 2238641 w 2242827"/>
              <a:gd name="connsiteY2" fmla="*/ 82607 h 2102966"/>
              <a:gd name="connsiteX3" fmla="*/ 1 w 2242827"/>
              <a:gd name="connsiteY3" fmla="*/ 2102966 h 2102966"/>
              <a:gd name="connsiteX4" fmla="*/ 1 w 2242827"/>
              <a:gd name="connsiteY4" fmla="*/ 2080690 h 2102966"/>
              <a:gd name="connsiteX5" fmla="*/ 2216479 w 2242827"/>
              <a:gd name="connsiteY5" fmla="*/ 80336 h 2102966"/>
              <a:gd name="connsiteX6" fmla="*/ 2098030 w 2242827"/>
              <a:gd name="connsiteY6" fmla="*/ 0 h 2102966"/>
              <a:gd name="connsiteX7" fmla="*/ 2120412 w 2242827"/>
              <a:gd name="connsiteY7" fmla="*/ 0 h 2102966"/>
              <a:gd name="connsiteX8" fmla="*/ 2116859 w 2242827"/>
              <a:gd name="connsiteY8" fmla="*/ 70117 h 2102966"/>
              <a:gd name="connsiteX9" fmla="*/ 1 w 2242827"/>
              <a:gd name="connsiteY9" fmla="*/ 1980571 h 2102966"/>
              <a:gd name="connsiteX10" fmla="*/ 1 w 2242827"/>
              <a:gd name="connsiteY10" fmla="*/ 1958295 h 2102966"/>
              <a:gd name="connsiteX11" fmla="*/ 2094588 w 2242827"/>
              <a:gd name="connsiteY11" fmla="*/ 67938 h 2102966"/>
              <a:gd name="connsiteX12" fmla="*/ 1975608 w 2242827"/>
              <a:gd name="connsiteY12" fmla="*/ 0 h 2102966"/>
              <a:gd name="connsiteX13" fmla="*/ 1997887 w 2242827"/>
              <a:gd name="connsiteY13" fmla="*/ 0 h 2102966"/>
              <a:gd name="connsiteX14" fmla="*/ 1994968 w 2242827"/>
              <a:gd name="connsiteY14" fmla="*/ 57611 h 2102966"/>
              <a:gd name="connsiteX15" fmla="*/ 1 w 2242827"/>
              <a:gd name="connsiteY15" fmla="*/ 1858047 h 2102966"/>
              <a:gd name="connsiteX16" fmla="*/ 1 w 2242827"/>
              <a:gd name="connsiteY16" fmla="*/ 1835771 h 2102966"/>
              <a:gd name="connsiteX17" fmla="*/ 1972805 w 2242827"/>
              <a:gd name="connsiteY17" fmla="*/ 55322 h 2102966"/>
              <a:gd name="connsiteX18" fmla="*/ 1853193 w 2242827"/>
              <a:gd name="connsiteY18" fmla="*/ 0 h 2102966"/>
              <a:gd name="connsiteX19" fmla="*/ 1875472 w 2242827"/>
              <a:gd name="connsiteY19" fmla="*/ 0 h 2102966"/>
              <a:gd name="connsiteX20" fmla="*/ 1873186 w 2242827"/>
              <a:gd name="connsiteY20" fmla="*/ 45119 h 2102966"/>
              <a:gd name="connsiteX21" fmla="*/ 0 w 2242827"/>
              <a:gd name="connsiteY21" fmla="*/ 1735650 h 2102966"/>
              <a:gd name="connsiteX22" fmla="*/ 0 w 2242827"/>
              <a:gd name="connsiteY22" fmla="*/ 1713374 h 2102966"/>
              <a:gd name="connsiteX23" fmla="*/ 1851022 w 2242827"/>
              <a:gd name="connsiteY23" fmla="*/ 42848 h 2102966"/>
              <a:gd name="connsiteX24" fmla="*/ 1730668 w 2242827"/>
              <a:gd name="connsiteY24" fmla="*/ 0 h 2102966"/>
              <a:gd name="connsiteX25" fmla="*/ 1753056 w 2242827"/>
              <a:gd name="connsiteY25" fmla="*/ 0 h 2102966"/>
              <a:gd name="connsiteX26" fmla="*/ 1751404 w 2242827"/>
              <a:gd name="connsiteY26" fmla="*/ 32610 h 2102966"/>
              <a:gd name="connsiteX27" fmla="*/ 0 w 2242827"/>
              <a:gd name="connsiteY27" fmla="*/ 1613232 h 2102966"/>
              <a:gd name="connsiteX28" fmla="*/ 0 w 2242827"/>
              <a:gd name="connsiteY28" fmla="*/ 1590961 h 2102966"/>
              <a:gd name="connsiteX29" fmla="*/ 1729127 w 2242827"/>
              <a:gd name="connsiteY29" fmla="*/ 30432 h 2102966"/>
              <a:gd name="connsiteX30" fmla="*/ 1608247 w 2242827"/>
              <a:gd name="connsiteY30" fmla="*/ 0 h 2102966"/>
              <a:gd name="connsiteX31" fmla="*/ 1630525 w 2242827"/>
              <a:gd name="connsiteY31" fmla="*/ 0 h 2102966"/>
              <a:gd name="connsiteX32" fmla="*/ 1629507 w 2242827"/>
              <a:gd name="connsiteY32" fmla="*/ 20086 h 2102966"/>
              <a:gd name="connsiteX33" fmla="*/ 0 w 2242827"/>
              <a:gd name="connsiteY33" fmla="*/ 1490712 h 2102966"/>
              <a:gd name="connsiteX34" fmla="*/ 0 w 2242827"/>
              <a:gd name="connsiteY34" fmla="*/ 1468436 h 2102966"/>
              <a:gd name="connsiteX35" fmla="*/ 1607345 w 2242827"/>
              <a:gd name="connsiteY35" fmla="*/ 17816 h 2102966"/>
              <a:gd name="connsiteX36" fmla="*/ 1485833 w 2242827"/>
              <a:gd name="connsiteY36" fmla="*/ 0 h 2102966"/>
              <a:gd name="connsiteX37" fmla="*/ 1508109 w 2242827"/>
              <a:gd name="connsiteY37" fmla="*/ 0 h 2102966"/>
              <a:gd name="connsiteX38" fmla="*/ 1507724 w 2242827"/>
              <a:gd name="connsiteY38" fmla="*/ 7596 h 2102966"/>
              <a:gd name="connsiteX39" fmla="*/ 0 w 2242827"/>
              <a:gd name="connsiteY39" fmla="*/ 1368317 h 2102966"/>
              <a:gd name="connsiteX40" fmla="*/ 0 w 2242827"/>
              <a:gd name="connsiteY40" fmla="*/ 1346041 h 2102966"/>
              <a:gd name="connsiteX41" fmla="*/ 1485563 w 2242827"/>
              <a:gd name="connsiteY41" fmla="*/ 5325 h 2102966"/>
              <a:gd name="connsiteX42" fmla="*/ 1362591 w 2242827"/>
              <a:gd name="connsiteY42" fmla="*/ 0 h 2102966"/>
              <a:gd name="connsiteX43" fmla="*/ 1385194 w 2242827"/>
              <a:gd name="connsiteY43" fmla="*/ 0 h 2102966"/>
              <a:gd name="connsiteX44" fmla="*/ 1364797 w 2242827"/>
              <a:gd name="connsiteY44" fmla="*/ 133264 h 2102966"/>
              <a:gd name="connsiteX45" fmla="*/ 0 w 2242827"/>
              <a:gd name="connsiteY45" fmla="*/ 1245917 h 2102966"/>
              <a:gd name="connsiteX46" fmla="*/ 0 w 2242827"/>
              <a:gd name="connsiteY46" fmla="*/ 1223641 h 2102966"/>
              <a:gd name="connsiteX47" fmla="*/ 1342864 w 2242827"/>
              <a:gd name="connsiteY47" fmla="*/ 128894 h 2102966"/>
              <a:gd name="connsiteX48" fmla="*/ 1238878 w 2242827"/>
              <a:gd name="connsiteY48" fmla="*/ 0 h 2102966"/>
              <a:gd name="connsiteX49" fmla="*/ 1261388 w 2242827"/>
              <a:gd name="connsiteY49" fmla="*/ 0 h 2102966"/>
              <a:gd name="connsiteX50" fmla="*/ 1244763 w 2242827"/>
              <a:gd name="connsiteY50" fmla="*/ 108614 h 2102966"/>
              <a:gd name="connsiteX51" fmla="*/ 0 w 2242827"/>
              <a:gd name="connsiteY51" fmla="*/ 1123397 h 2102966"/>
              <a:gd name="connsiteX52" fmla="*/ 0 w 2242827"/>
              <a:gd name="connsiteY52" fmla="*/ 1101121 h 2102966"/>
              <a:gd name="connsiteX53" fmla="*/ 1222940 w 2242827"/>
              <a:gd name="connsiteY53" fmla="*/ 104135 h 2102966"/>
              <a:gd name="connsiteX54" fmla="*/ 1115178 w 2242827"/>
              <a:gd name="connsiteY54" fmla="*/ 0 h 2102966"/>
              <a:gd name="connsiteX55" fmla="*/ 1137688 w 2242827"/>
              <a:gd name="connsiteY55" fmla="*/ 0 h 2102966"/>
              <a:gd name="connsiteX56" fmla="*/ 1124836 w 2242827"/>
              <a:gd name="connsiteY56" fmla="*/ 83962 h 2102966"/>
              <a:gd name="connsiteX57" fmla="*/ 0 w 2242827"/>
              <a:gd name="connsiteY57" fmla="*/ 1000978 h 2102966"/>
              <a:gd name="connsiteX58" fmla="*/ 0 w 2242827"/>
              <a:gd name="connsiteY58" fmla="*/ 978703 h 2102966"/>
              <a:gd name="connsiteX59" fmla="*/ 1103012 w 2242827"/>
              <a:gd name="connsiteY59" fmla="*/ 79485 h 2102966"/>
              <a:gd name="connsiteX60" fmla="*/ 991375 w 2242827"/>
              <a:gd name="connsiteY60" fmla="*/ 0 h 2102966"/>
              <a:gd name="connsiteX61" fmla="*/ 1013997 w 2242827"/>
              <a:gd name="connsiteY61" fmla="*/ 0 h 2102966"/>
              <a:gd name="connsiteX62" fmla="*/ 1004915 w 2242827"/>
              <a:gd name="connsiteY62" fmla="*/ 59331 h 2102966"/>
              <a:gd name="connsiteX63" fmla="*/ 0 w 2242827"/>
              <a:gd name="connsiteY63" fmla="*/ 878583 h 2102966"/>
              <a:gd name="connsiteX64" fmla="*/ 0 w 2242827"/>
              <a:gd name="connsiteY64" fmla="*/ 856307 h 2102966"/>
              <a:gd name="connsiteX65" fmla="*/ 982981 w 2242827"/>
              <a:gd name="connsiteY65" fmla="*/ 54853 h 2102966"/>
              <a:gd name="connsiteX66" fmla="*/ 866108 w 2242827"/>
              <a:gd name="connsiteY66" fmla="*/ 0 h 2102966"/>
              <a:gd name="connsiteX67" fmla="*/ 888384 w 2242827"/>
              <a:gd name="connsiteY67" fmla="*/ 0 h 2102966"/>
              <a:gd name="connsiteX68" fmla="*/ 884876 w 2242827"/>
              <a:gd name="connsiteY68" fmla="*/ 34680 h 2102966"/>
              <a:gd name="connsiteX69" fmla="*/ 0 w 2242827"/>
              <a:gd name="connsiteY69" fmla="*/ 756058 h 2102966"/>
              <a:gd name="connsiteX70" fmla="*/ 0 w 2242827"/>
              <a:gd name="connsiteY70" fmla="*/ 733782 h 2102966"/>
              <a:gd name="connsiteX71" fmla="*/ 863057 w 2242827"/>
              <a:gd name="connsiteY71" fmla="*/ 30169 h 2102966"/>
              <a:gd name="connsiteX72" fmla="*/ 743692 w 2242827"/>
              <a:gd name="connsiteY72" fmla="*/ 0 h 2102966"/>
              <a:gd name="connsiteX73" fmla="*/ 765973 w 2242827"/>
              <a:gd name="connsiteY73" fmla="*/ 0 h 2102966"/>
              <a:gd name="connsiteX74" fmla="*/ 764957 w 2242827"/>
              <a:gd name="connsiteY74" fmla="*/ 10048 h 2102966"/>
              <a:gd name="connsiteX75" fmla="*/ 0 w 2242827"/>
              <a:gd name="connsiteY75" fmla="*/ 633662 h 2102966"/>
              <a:gd name="connsiteX76" fmla="*/ 0 w 2242827"/>
              <a:gd name="connsiteY76" fmla="*/ 611386 h 2102966"/>
              <a:gd name="connsiteX77" fmla="*/ 743129 w 2242827"/>
              <a:gd name="connsiteY77" fmla="*/ 5570 h 2102966"/>
              <a:gd name="connsiteX78" fmla="*/ 617163 w 2242827"/>
              <a:gd name="connsiteY78" fmla="*/ 0 h 2102966"/>
              <a:gd name="connsiteX79" fmla="*/ 640489 w 2242827"/>
              <a:gd name="connsiteY79" fmla="*/ 0 h 2102966"/>
              <a:gd name="connsiteX80" fmla="*/ 606611 w 2242827"/>
              <a:gd name="connsiteY80" fmla="*/ 108906 h 2102966"/>
              <a:gd name="connsiteX81" fmla="*/ 0 w 2242827"/>
              <a:gd name="connsiteY81" fmla="*/ 511248 h 2102966"/>
              <a:gd name="connsiteX82" fmla="*/ 0 w 2242827"/>
              <a:gd name="connsiteY82" fmla="*/ 488972 h 2102966"/>
              <a:gd name="connsiteX83" fmla="*/ 585980 w 2242827"/>
              <a:gd name="connsiteY83" fmla="*/ 100252 h 2102966"/>
              <a:gd name="connsiteX84" fmla="*/ 489561 w 2242827"/>
              <a:gd name="connsiteY84" fmla="*/ 0 h 2102966"/>
              <a:gd name="connsiteX85" fmla="*/ 512789 w 2242827"/>
              <a:gd name="connsiteY85" fmla="*/ 0 h 2102966"/>
              <a:gd name="connsiteX86" fmla="*/ 493721 w 2242827"/>
              <a:gd name="connsiteY86" fmla="*/ 61289 h 2102966"/>
              <a:gd name="connsiteX87" fmla="*/ 0 w 2242827"/>
              <a:gd name="connsiteY87" fmla="*/ 388735 h 2102966"/>
              <a:gd name="connsiteX88" fmla="*/ 0 w 2242827"/>
              <a:gd name="connsiteY88" fmla="*/ 366459 h 2102966"/>
              <a:gd name="connsiteX89" fmla="*/ 473199 w 2242827"/>
              <a:gd name="connsiteY89" fmla="*/ 52587 h 2102966"/>
              <a:gd name="connsiteX90" fmla="*/ 361966 w 2242827"/>
              <a:gd name="connsiteY90" fmla="*/ 0 h 2102966"/>
              <a:gd name="connsiteX91" fmla="*/ 385181 w 2242827"/>
              <a:gd name="connsiteY91" fmla="*/ 0 h 2102966"/>
              <a:gd name="connsiteX92" fmla="*/ 380937 w 2242827"/>
              <a:gd name="connsiteY92" fmla="*/ 13636 h 2102966"/>
              <a:gd name="connsiteX93" fmla="*/ 0 w 2242827"/>
              <a:gd name="connsiteY93" fmla="*/ 266328 h 2102966"/>
              <a:gd name="connsiteX94" fmla="*/ 0 w 2242827"/>
              <a:gd name="connsiteY94" fmla="*/ 244052 h 2102966"/>
              <a:gd name="connsiteX95" fmla="*/ 360416 w 2242827"/>
              <a:gd name="connsiteY95" fmla="*/ 4982 h 2102966"/>
              <a:gd name="connsiteX96" fmla="*/ 218905 w 2242827"/>
              <a:gd name="connsiteY96" fmla="*/ 0 h 2102966"/>
              <a:gd name="connsiteX97" fmla="*/ 249720 w 2242827"/>
              <a:gd name="connsiteY97" fmla="*/ 0 h 2102966"/>
              <a:gd name="connsiteX98" fmla="*/ 241311 w 2242827"/>
              <a:gd name="connsiteY98" fmla="*/ 15475 h 2102966"/>
              <a:gd name="connsiteX99" fmla="*/ 0 w 2242827"/>
              <a:gd name="connsiteY99" fmla="*/ 143932 h 2102966"/>
              <a:gd name="connsiteX100" fmla="*/ 0 w 2242827"/>
              <a:gd name="connsiteY100" fmla="*/ 121656 h 2102966"/>
              <a:gd name="connsiteX101" fmla="*/ 189966 w 2242827"/>
              <a:gd name="connsiteY101" fmla="*/ 42875 h 2102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2242827" h="2102966">
                <a:moveTo>
                  <a:pt x="2220549" y="0"/>
                </a:moveTo>
                <a:lnTo>
                  <a:pt x="2242827" y="0"/>
                </a:lnTo>
                <a:lnTo>
                  <a:pt x="2238641" y="82607"/>
                </a:lnTo>
                <a:cubicBezTo>
                  <a:pt x="2123193" y="1215807"/>
                  <a:pt x="1163255" y="2102966"/>
                  <a:pt x="1" y="2102966"/>
                </a:cubicBezTo>
                <a:lnTo>
                  <a:pt x="1" y="2080690"/>
                </a:lnTo>
                <a:cubicBezTo>
                  <a:pt x="1151759" y="2080690"/>
                  <a:pt x="2102176" y="1202330"/>
                  <a:pt x="2216479" y="80336"/>
                </a:cubicBezTo>
                <a:close/>
                <a:moveTo>
                  <a:pt x="2098030" y="0"/>
                </a:moveTo>
                <a:lnTo>
                  <a:pt x="2120412" y="0"/>
                </a:lnTo>
                <a:lnTo>
                  <a:pt x="2116859" y="70117"/>
                </a:lnTo>
                <a:cubicBezTo>
                  <a:pt x="2007691" y="1141666"/>
                  <a:pt x="1099966" y="1980571"/>
                  <a:pt x="1" y="1980571"/>
                </a:cubicBezTo>
                <a:lnTo>
                  <a:pt x="1" y="1958295"/>
                </a:lnTo>
                <a:cubicBezTo>
                  <a:pt x="1088470" y="1958295"/>
                  <a:pt x="1986577" y="1128187"/>
                  <a:pt x="2094588" y="67938"/>
                </a:cubicBezTo>
                <a:close/>
                <a:moveTo>
                  <a:pt x="1975608" y="0"/>
                </a:moveTo>
                <a:lnTo>
                  <a:pt x="1997887" y="0"/>
                </a:lnTo>
                <a:lnTo>
                  <a:pt x="1994968" y="57611"/>
                </a:lnTo>
                <a:cubicBezTo>
                  <a:pt x="1892090" y="1067493"/>
                  <a:pt x="1036676" y="1858047"/>
                  <a:pt x="1" y="1858047"/>
                </a:cubicBezTo>
                <a:lnTo>
                  <a:pt x="1" y="1835771"/>
                </a:lnTo>
                <a:cubicBezTo>
                  <a:pt x="1025181" y="1835771"/>
                  <a:pt x="1871073" y="1053919"/>
                  <a:pt x="1972805" y="55322"/>
                </a:cubicBezTo>
                <a:close/>
                <a:moveTo>
                  <a:pt x="1853193" y="0"/>
                </a:moveTo>
                <a:lnTo>
                  <a:pt x="1875472" y="0"/>
                </a:lnTo>
                <a:lnTo>
                  <a:pt x="1873186" y="45119"/>
                </a:lnTo>
                <a:cubicBezTo>
                  <a:pt x="1776588" y="993350"/>
                  <a:pt x="973388" y="1735650"/>
                  <a:pt x="0" y="1735650"/>
                </a:cubicBezTo>
                <a:lnTo>
                  <a:pt x="0" y="1713374"/>
                </a:lnTo>
                <a:cubicBezTo>
                  <a:pt x="961784" y="1713374"/>
                  <a:pt x="1755557" y="979877"/>
                  <a:pt x="1851022" y="42848"/>
                </a:cubicBezTo>
                <a:close/>
                <a:moveTo>
                  <a:pt x="1730668" y="0"/>
                </a:moveTo>
                <a:lnTo>
                  <a:pt x="1753056" y="0"/>
                </a:lnTo>
                <a:lnTo>
                  <a:pt x="1751404" y="32610"/>
                </a:lnTo>
                <a:cubicBezTo>
                  <a:pt x="1661086" y="919190"/>
                  <a:pt x="910098" y="1613232"/>
                  <a:pt x="0" y="1613232"/>
                </a:cubicBezTo>
                <a:lnTo>
                  <a:pt x="0" y="1590961"/>
                </a:lnTo>
                <a:cubicBezTo>
                  <a:pt x="898495" y="1590961"/>
                  <a:pt x="1639954" y="905712"/>
                  <a:pt x="1729127" y="30432"/>
                </a:cubicBezTo>
                <a:close/>
                <a:moveTo>
                  <a:pt x="1608247" y="0"/>
                </a:moveTo>
                <a:lnTo>
                  <a:pt x="1630525" y="0"/>
                </a:lnTo>
                <a:lnTo>
                  <a:pt x="1629507" y="20086"/>
                </a:lnTo>
                <a:cubicBezTo>
                  <a:pt x="1545469" y="844919"/>
                  <a:pt x="846701" y="1490712"/>
                  <a:pt x="0" y="1490712"/>
                </a:cubicBezTo>
                <a:lnTo>
                  <a:pt x="0" y="1468436"/>
                </a:lnTo>
                <a:cubicBezTo>
                  <a:pt x="835206" y="1468436"/>
                  <a:pt x="1524451" y="831445"/>
                  <a:pt x="1607345" y="17816"/>
                </a:cubicBezTo>
                <a:close/>
                <a:moveTo>
                  <a:pt x="1485833" y="0"/>
                </a:moveTo>
                <a:lnTo>
                  <a:pt x="1508109" y="0"/>
                </a:lnTo>
                <a:lnTo>
                  <a:pt x="1507724" y="7596"/>
                </a:lnTo>
                <a:cubicBezTo>
                  <a:pt x="1429966" y="770778"/>
                  <a:pt x="783416" y="1368317"/>
                  <a:pt x="0" y="1368317"/>
                </a:cubicBezTo>
                <a:lnTo>
                  <a:pt x="0" y="1346041"/>
                </a:lnTo>
                <a:cubicBezTo>
                  <a:pt x="771917" y="1346041"/>
                  <a:pt x="1408949" y="757304"/>
                  <a:pt x="1485563" y="5325"/>
                </a:cubicBezTo>
                <a:close/>
                <a:moveTo>
                  <a:pt x="1362591" y="0"/>
                </a:moveTo>
                <a:lnTo>
                  <a:pt x="1385194" y="0"/>
                </a:lnTo>
                <a:lnTo>
                  <a:pt x="1364797" y="133264"/>
                </a:lnTo>
                <a:cubicBezTo>
                  <a:pt x="1234684" y="767432"/>
                  <a:pt x="672215" y="1245917"/>
                  <a:pt x="0" y="1245917"/>
                </a:cubicBezTo>
                <a:lnTo>
                  <a:pt x="0" y="1223641"/>
                </a:lnTo>
                <a:cubicBezTo>
                  <a:pt x="661385" y="1223641"/>
                  <a:pt x="1214835" y="752908"/>
                  <a:pt x="1342864" y="128894"/>
                </a:cubicBezTo>
                <a:close/>
                <a:moveTo>
                  <a:pt x="1238878" y="0"/>
                </a:moveTo>
                <a:lnTo>
                  <a:pt x="1261388" y="0"/>
                </a:lnTo>
                <a:lnTo>
                  <a:pt x="1244763" y="108614"/>
                </a:lnTo>
                <a:cubicBezTo>
                  <a:pt x="1126083" y="687031"/>
                  <a:pt x="613049" y="1123397"/>
                  <a:pt x="0" y="1123397"/>
                </a:cubicBezTo>
                <a:lnTo>
                  <a:pt x="0" y="1101121"/>
                </a:lnTo>
                <a:cubicBezTo>
                  <a:pt x="602316" y="1101121"/>
                  <a:pt x="1106344" y="672419"/>
                  <a:pt x="1222940" y="104135"/>
                </a:cubicBezTo>
                <a:close/>
                <a:moveTo>
                  <a:pt x="1115178" y="0"/>
                </a:moveTo>
                <a:lnTo>
                  <a:pt x="1137688" y="0"/>
                </a:lnTo>
                <a:lnTo>
                  <a:pt x="1124836" y="83962"/>
                </a:lnTo>
                <a:cubicBezTo>
                  <a:pt x="1017592" y="606647"/>
                  <a:pt x="553979" y="1000978"/>
                  <a:pt x="0" y="1000978"/>
                </a:cubicBezTo>
                <a:lnTo>
                  <a:pt x="0" y="978703"/>
                </a:lnTo>
                <a:cubicBezTo>
                  <a:pt x="543246" y="978703"/>
                  <a:pt x="997852" y="592039"/>
                  <a:pt x="1103012" y="79485"/>
                </a:cubicBezTo>
                <a:close/>
                <a:moveTo>
                  <a:pt x="991375" y="0"/>
                </a:moveTo>
                <a:lnTo>
                  <a:pt x="1013997" y="0"/>
                </a:lnTo>
                <a:lnTo>
                  <a:pt x="1004915" y="59331"/>
                </a:lnTo>
                <a:cubicBezTo>
                  <a:pt x="909100" y="526286"/>
                  <a:pt x="494909" y="878583"/>
                  <a:pt x="0" y="878583"/>
                </a:cubicBezTo>
                <a:lnTo>
                  <a:pt x="0" y="856307"/>
                </a:lnTo>
                <a:cubicBezTo>
                  <a:pt x="484176" y="856307"/>
                  <a:pt x="889272" y="511676"/>
                  <a:pt x="982981" y="54853"/>
                </a:cubicBezTo>
                <a:close/>
                <a:moveTo>
                  <a:pt x="866108" y="0"/>
                </a:moveTo>
                <a:lnTo>
                  <a:pt x="888384" y="0"/>
                </a:lnTo>
                <a:lnTo>
                  <a:pt x="884876" y="34680"/>
                </a:lnTo>
                <a:cubicBezTo>
                  <a:pt x="800495" y="445883"/>
                  <a:pt x="435739" y="756058"/>
                  <a:pt x="0" y="756058"/>
                </a:cubicBezTo>
                <a:lnTo>
                  <a:pt x="0" y="733782"/>
                </a:lnTo>
                <a:cubicBezTo>
                  <a:pt x="425107" y="733782"/>
                  <a:pt x="780781" y="431187"/>
                  <a:pt x="863057" y="30169"/>
                </a:cubicBezTo>
                <a:close/>
                <a:moveTo>
                  <a:pt x="743692" y="0"/>
                </a:moveTo>
                <a:lnTo>
                  <a:pt x="765973" y="0"/>
                </a:lnTo>
                <a:lnTo>
                  <a:pt x="764957" y="10048"/>
                </a:lnTo>
                <a:cubicBezTo>
                  <a:pt x="692029" y="365521"/>
                  <a:pt x="376767" y="633662"/>
                  <a:pt x="0" y="633662"/>
                </a:cubicBezTo>
                <a:lnTo>
                  <a:pt x="0" y="611386"/>
                </a:lnTo>
                <a:cubicBezTo>
                  <a:pt x="365938" y="611386"/>
                  <a:pt x="672265" y="350911"/>
                  <a:pt x="743129" y="5570"/>
                </a:cubicBezTo>
                <a:close/>
                <a:moveTo>
                  <a:pt x="617163" y="0"/>
                </a:moveTo>
                <a:lnTo>
                  <a:pt x="640489" y="0"/>
                </a:lnTo>
                <a:lnTo>
                  <a:pt x="606611" y="108906"/>
                </a:lnTo>
                <a:cubicBezTo>
                  <a:pt x="506524" y="345128"/>
                  <a:pt x="272312" y="511248"/>
                  <a:pt x="0" y="511248"/>
                </a:cubicBezTo>
                <a:lnTo>
                  <a:pt x="0" y="488972"/>
                </a:lnTo>
                <a:cubicBezTo>
                  <a:pt x="263030" y="488972"/>
                  <a:pt x="489290" y="328485"/>
                  <a:pt x="585980" y="100252"/>
                </a:cubicBezTo>
                <a:close/>
                <a:moveTo>
                  <a:pt x="489561" y="0"/>
                </a:moveTo>
                <a:lnTo>
                  <a:pt x="512789" y="0"/>
                </a:lnTo>
                <a:lnTo>
                  <a:pt x="493721" y="61289"/>
                </a:lnTo>
                <a:cubicBezTo>
                  <a:pt x="412246" y="253561"/>
                  <a:pt x="221597" y="388735"/>
                  <a:pt x="0" y="388735"/>
                </a:cubicBezTo>
                <a:lnTo>
                  <a:pt x="0" y="366459"/>
                </a:lnTo>
                <a:cubicBezTo>
                  <a:pt x="212399" y="366459"/>
                  <a:pt x="395116" y="236854"/>
                  <a:pt x="473199" y="52587"/>
                </a:cubicBezTo>
                <a:close/>
                <a:moveTo>
                  <a:pt x="361966" y="0"/>
                </a:moveTo>
                <a:lnTo>
                  <a:pt x="385181" y="0"/>
                </a:lnTo>
                <a:lnTo>
                  <a:pt x="380937" y="13636"/>
                </a:lnTo>
                <a:cubicBezTo>
                  <a:pt x="318070" y="161973"/>
                  <a:pt x="170965" y="266328"/>
                  <a:pt x="0" y="266328"/>
                </a:cubicBezTo>
                <a:lnTo>
                  <a:pt x="0" y="244052"/>
                </a:lnTo>
                <a:cubicBezTo>
                  <a:pt x="161767" y="244052"/>
                  <a:pt x="300940" y="145329"/>
                  <a:pt x="360416" y="4982"/>
                </a:cubicBezTo>
                <a:close/>
                <a:moveTo>
                  <a:pt x="218905" y="0"/>
                </a:moveTo>
                <a:lnTo>
                  <a:pt x="249720" y="0"/>
                </a:lnTo>
                <a:lnTo>
                  <a:pt x="241311" y="15475"/>
                </a:lnTo>
                <a:cubicBezTo>
                  <a:pt x="188962" y="92909"/>
                  <a:pt x="100349" y="143932"/>
                  <a:pt x="0" y="143932"/>
                </a:cubicBezTo>
                <a:lnTo>
                  <a:pt x="0" y="121656"/>
                </a:lnTo>
                <a:cubicBezTo>
                  <a:pt x="74091" y="121656"/>
                  <a:pt x="141290" y="91533"/>
                  <a:pt x="189966" y="42875"/>
                </a:cubicBezTo>
                <a:close/>
              </a:path>
            </a:pathLst>
          </a:custGeom>
          <a:solidFill>
            <a:schemeClr val="accent3">
              <a:lumMod val="20000"/>
              <a:lumOff val="80000"/>
            </a:schemeClr>
          </a:solidFill>
          <a:ln w="4588"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dirty="0">
              <a:solidFill>
                <a:schemeClr val="tx1"/>
              </a:solidFill>
            </a:endParaRPr>
          </a:p>
        </p:txBody>
      </p:sp>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p:cNvSpPr>
            <a:spLocks noGrp="1"/>
          </p:cNvSpPr>
          <p:nvPr>
            <p:ph type="ftr" sz="quarter" idx="11"/>
          </p:nvPr>
        </p:nvSpPr>
        <p:spPr/>
        <p:txBody>
          <a:bodyPr/>
          <a:lstStyle/>
          <a:p>
            <a:r>
              <a:rPr lang="en-US"/>
              <a:t>Presentation title</a:t>
            </a:r>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415279476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1" y="2130439"/>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1"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4B6CCF58-4A37-4D00-BE49-E47B16EB7BF0}" type="datetime1">
              <a:rPr lang="en-US" smtClean="0">
                <a:solidFill>
                  <a:prstClr val="black">
                    <a:tint val="75000"/>
                  </a:prstClr>
                </a:solidFill>
              </a:rPr>
              <a:t>8/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CONFIDENTIALITY NOTICE: This document is privileged and confidential under the Illinois Medical Studies Act and should not be shared or distributed other than through the Rush University Medical Center quality improvement committee structure.</a:t>
            </a:r>
          </a:p>
        </p:txBody>
      </p:sp>
      <p:sp>
        <p:nvSpPr>
          <p:cNvPr id="6" name="Slide Number Placeholder 5"/>
          <p:cNvSpPr>
            <a:spLocks noGrp="1"/>
          </p:cNvSpPr>
          <p:nvPr>
            <p:ph type="sldNum" sz="quarter" idx="12"/>
          </p:nvPr>
        </p:nvSpPr>
        <p:spPr/>
        <p:txBody>
          <a:bodyPr/>
          <a:lstStyle/>
          <a:p>
            <a:fld id="{B156335E-CE13-934F-A4BC-F1C1CD2FD74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28515544"/>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25047" y="318267"/>
            <a:ext cx="10972801" cy="1143000"/>
          </a:xfrm>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616EB-BC0F-472C-93BF-97F1B4169F68}" type="datetime1">
              <a:rPr lang="en-US" smtClean="0">
                <a:solidFill>
                  <a:prstClr val="black">
                    <a:tint val="75000"/>
                  </a:prstClr>
                </a:solidFill>
              </a:rPr>
              <a:t>8/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CONFIDENTIALITY NOTICE: This document is privileged and confidential under the Illinois Medical Studies Act and should not be shared or distributed other than through the Rush University Medical Center quality improvement committee structure.</a:t>
            </a:r>
          </a:p>
        </p:txBody>
      </p:sp>
      <p:sp>
        <p:nvSpPr>
          <p:cNvPr id="6" name="Slide Number Placeholder 5"/>
          <p:cNvSpPr>
            <a:spLocks noGrp="1"/>
          </p:cNvSpPr>
          <p:nvPr>
            <p:ph type="sldNum" sz="quarter" idx="12"/>
          </p:nvPr>
        </p:nvSpPr>
        <p:spPr/>
        <p:txBody>
          <a:bodyPr/>
          <a:lstStyle/>
          <a:p>
            <a:fld id="{B156335E-CE13-934F-A4BC-F1C1CD2FD74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12194829"/>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1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3E07371-6847-44AC-9EE6-99949C2A898D}" type="datetime1">
              <a:rPr lang="en-US" smtClean="0">
                <a:solidFill>
                  <a:prstClr val="black">
                    <a:tint val="75000"/>
                  </a:prstClr>
                </a:solidFill>
              </a:rPr>
              <a:t>8/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CONFIDENTIALITY NOTICE: This document is privileged and confidential under the Illinois Medical Studies Act and should not be shared or distributed other than through the Rush University Medical Center quality improvement committee structure.</a:t>
            </a:r>
          </a:p>
        </p:txBody>
      </p:sp>
      <p:sp>
        <p:nvSpPr>
          <p:cNvPr id="6" name="Slide Number Placeholder 5"/>
          <p:cNvSpPr>
            <a:spLocks noGrp="1"/>
          </p:cNvSpPr>
          <p:nvPr>
            <p:ph type="sldNum" sz="quarter" idx="12"/>
          </p:nvPr>
        </p:nvSpPr>
        <p:spPr/>
        <p:txBody>
          <a:bodyPr/>
          <a:lstStyle/>
          <a:p>
            <a:fld id="{B156335E-CE13-934F-A4BC-F1C1CD2FD74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8852015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3A5DB55-0051-421F-A6E5-4D65BF329517}" type="datetime1">
              <a:rPr lang="en-US" smtClean="0">
                <a:solidFill>
                  <a:prstClr val="black">
                    <a:tint val="75000"/>
                  </a:prstClr>
                </a:solidFill>
              </a:rPr>
              <a:t>8/2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a:solidFill>
                  <a:prstClr val="black">
                    <a:tint val="75000"/>
                  </a:prstClr>
                </a:solidFill>
              </a:rPr>
              <a:t>CONFIDENTIALITY NOTICE: This document is privileged and confidential under the Illinois Medical Studies Act and should not be shared or distributed other than through the Rush University Medical Center quality improvement committee structure.</a:t>
            </a:r>
          </a:p>
        </p:txBody>
      </p:sp>
      <p:sp>
        <p:nvSpPr>
          <p:cNvPr id="7" name="Slide Number Placeholder 6"/>
          <p:cNvSpPr>
            <a:spLocks noGrp="1"/>
          </p:cNvSpPr>
          <p:nvPr>
            <p:ph type="sldNum" sz="quarter" idx="12"/>
          </p:nvPr>
        </p:nvSpPr>
        <p:spPr/>
        <p:txBody>
          <a:bodyPr/>
          <a:lstStyle/>
          <a:p>
            <a:fld id="{B156335E-CE13-934F-A4BC-F1C1CD2FD74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24358740"/>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7"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7"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56DBE0-5FAC-47AB-9E90-F1457CDBBE42}" type="datetime1">
              <a:rPr lang="en-US" smtClean="0">
                <a:solidFill>
                  <a:prstClr val="black">
                    <a:tint val="75000"/>
                  </a:prstClr>
                </a:solidFill>
              </a:rPr>
              <a:t>8/21/202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r>
              <a:rPr lang="en-US">
                <a:solidFill>
                  <a:prstClr val="black">
                    <a:tint val="75000"/>
                  </a:prstClr>
                </a:solidFill>
              </a:rPr>
              <a:t>CONFIDENTIALITY NOTICE: This document is privileged and confidential under the Illinois Medical Studies Act and should not be shared or distributed other than through the Rush University Medical Center quality improvement committee structure.</a:t>
            </a:r>
          </a:p>
        </p:txBody>
      </p:sp>
      <p:sp>
        <p:nvSpPr>
          <p:cNvPr id="9" name="Slide Number Placeholder 8"/>
          <p:cNvSpPr>
            <a:spLocks noGrp="1"/>
          </p:cNvSpPr>
          <p:nvPr>
            <p:ph type="sldNum" sz="quarter" idx="12"/>
          </p:nvPr>
        </p:nvSpPr>
        <p:spPr/>
        <p:txBody>
          <a:bodyPr/>
          <a:lstStyle/>
          <a:p>
            <a:fld id="{B156335E-CE13-934F-A4BC-F1C1CD2FD74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56894743"/>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17898F5-6947-410C-A5FD-6178CD92DE41}" type="datetime1">
              <a:rPr lang="en-US" smtClean="0">
                <a:solidFill>
                  <a:prstClr val="black">
                    <a:tint val="75000"/>
                  </a:prstClr>
                </a:solidFill>
              </a:rPr>
              <a:t>8/21/202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r>
              <a:rPr lang="en-US">
                <a:solidFill>
                  <a:prstClr val="black">
                    <a:tint val="75000"/>
                  </a:prstClr>
                </a:solidFill>
              </a:rPr>
              <a:t>CONFIDENTIALITY NOTICE: This document is privileged and confidential under the Illinois Medical Studies Act and should not be shared or distributed other than through the Rush University Medical Center quality improvement committee structure.</a:t>
            </a:r>
          </a:p>
        </p:txBody>
      </p:sp>
      <p:sp>
        <p:nvSpPr>
          <p:cNvPr id="5" name="Slide Number Placeholder 4"/>
          <p:cNvSpPr>
            <a:spLocks noGrp="1"/>
          </p:cNvSpPr>
          <p:nvPr>
            <p:ph type="sldNum" sz="quarter" idx="12"/>
          </p:nvPr>
        </p:nvSpPr>
        <p:spPr/>
        <p:txBody>
          <a:bodyPr/>
          <a:lstStyle/>
          <a:p>
            <a:fld id="{B156335E-CE13-934F-A4BC-F1C1CD2FD74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33558122"/>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CC9D519-436C-45D1-B3D5-66C248ED3890}" type="datetime1">
              <a:rPr lang="en-US" smtClean="0">
                <a:solidFill>
                  <a:prstClr val="black">
                    <a:tint val="75000"/>
                  </a:prstClr>
                </a:solidFill>
              </a:rPr>
              <a:t>8/21/202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r>
              <a:rPr lang="en-US">
                <a:solidFill>
                  <a:prstClr val="black">
                    <a:tint val="75000"/>
                  </a:prstClr>
                </a:solidFill>
              </a:rPr>
              <a:t>CONFIDENTIALITY NOTICE: This document is privileged and confidential under the Illinois Medical Studies Act and should not be shared or distributed other than through the Rush University Medical Center quality improvement committee structure.</a:t>
            </a:r>
          </a:p>
        </p:txBody>
      </p:sp>
      <p:sp>
        <p:nvSpPr>
          <p:cNvPr id="4" name="Slide Number Placeholder 3"/>
          <p:cNvSpPr>
            <a:spLocks noGrp="1"/>
          </p:cNvSpPr>
          <p:nvPr>
            <p:ph type="sldNum" sz="quarter" idx="12"/>
          </p:nvPr>
        </p:nvSpPr>
        <p:spPr/>
        <p:txBody>
          <a:bodyPr/>
          <a:lstStyle/>
          <a:p>
            <a:fld id="{B156335E-CE13-934F-A4BC-F1C1CD2FD74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59935537"/>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9"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9"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0E1AE79F-FD37-490F-AB06-8B1AED9CAB1B}" type="datetime1">
              <a:rPr lang="en-US" smtClean="0">
                <a:solidFill>
                  <a:prstClr val="black">
                    <a:tint val="75000"/>
                  </a:prstClr>
                </a:solidFill>
              </a:rPr>
              <a:t>8/2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a:solidFill>
                  <a:prstClr val="black">
                    <a:tint val="75000"/>
                  </a:prstClr>
                </a:solidFill>
              </a:rPr>
              <a:t>CONFIDENTIALITY NOTICE: This document is privileged and confidential under the Illinois Medical Studies Act and should not be shared or distributed other than through the Rush University Medical Center quality improvement committee structure.</a:t>
            </a:r>
          </a:p>
        </p:txBody>
      </p:sp>
      <p:sp>
        <p:nvSpPr>
          <p:cNvPr id="7" name="Slide Number Placeholder 6"/>
          <p:cNvSpPr>
            <a:spLocks noGrp="1"/>
          </p:cNvSpPr>
          <p:nvPr>
            <p:ph type="sldNum" sz="quarter" idx="12"/>
          </p:nvPr>
        </p:nvSpPr>
        <p:spPr/>
        <p:txBody>
          <a:bodyPr/>
          <a:lstStyle/>
          <a:p>
            <a:fld id="{B156335E-CE13-934F-A4BC-F1C1CD2FD74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30223697"/>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8"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3C0BC16-8D36-4129-82CD-F3ECE1D53836}" type="datetime1">
              <a:rPr lang="en-US" smtClean="0">
                <a:solidFill>
                  <a:prstClr val="black">
                    <a:tint val="75000"/>
                  </a:prstClr>
                </a:solidFill>
              </a:rPr>
              <a:t>8/2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r>
              <a:rPr lang="en-US">
                <a:solidFill>
                  <a:prstClr val="black">
                    <a:tint val="75000"/>
                  </a:prstClr>
                </a:solidFill>
              </a:rPr>
              <a:t>CONFIDENTIALITY NOTICE: This document is privileged and confidential under the Illinois Medical Studies Act and should not be shared or distributed other than through the Rush University Medical Center quality improvement committee structure.</a:t>
            </a:r>
          </a:p>
        </p:txBody>
      </p:sp>
      <p:sp>
        <p:nvSpPr>
          <p:cNvPr id="7" name="Slide Number Placeholder 6"/>
          <p:cNvSpPr>
            <a:spLocks noGrp="1"/>
          </p:cNvSpPr>
          <p:nvPr>
            <p:ph type="sldNum" sz="quarter" idx="12"/>
          </p:nvPr>
        </p:nvSpPr>
        <p:spPr/>
        <p:txBody>
          <a:bodyPr/>
          <a:lstStyle/>
          <a:p>
            <a:fld id="{B156335E-CE13-934F-A4BC-F1C1CD2FD74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14301841"/>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3AE61F2-6CC4-4CDE-8F47-FC9EAA98CFC4}" type="datetime1">
              <a:rPr lang="en-US" smtClean="0">
                <a:solidFill>
                  <a:prstClr val="black">
                    <a:tint val="75000"/>
                  </a:prstClr>
                </a:solidFill>
              </a:rPr>
              <a:t>8/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CONFIDENTIALITY NOTICE: This document is privileged and confidential under the Illinois Medical Studies Act and should not be shared or distributed other than through the Rush University Medical Center quality improvement committee structure.</a:t>
            </a:r>
          </a:p>
        </p:txBody>
      </p:sp>
      <p:sp>
        <p:nvSpPr>
          <p:cNvPr id="6" name="Slide Number Placeholder 5"/>
          <p:cNvSpPr>
            <a:spLocks noGrp="1"/>
          </p:cNvSpPr>
          <p:nvPr>
            <p:ph type="sldNum" sz="quarter" idx="12"/>
          </p:nvPr>
        </p:nvSpPr>
        <p:spPr/>
        <p:txBody>
          <a:bodyPr/>
          <a:lstStyle/>
          <a:p>
            <a:fld id="{B156335E-CE13-934F-A4BC-F1C1CD2FD74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660280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1"/>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41"/>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8D3B90F-947A-42A1-80C8-51E29163702C}" type="datetime1">
              <a:rPr lang="en-US" smtClean="0">
                <a:solidFill>
                  <a:prstClr val="black">
                    <a:tint val="75000"/>
                  </a:prstClr>
                </a:solidFill>
              </a:rPr>
              <a:t>8/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CONFIDENTIALITY NOTICE: This document is privileged and confidential under the Illinois Medical Studies Act and should not be shared or distributed other than through the Rush University Medical Center quality improvement committee structure.</a:t>
            </a:r>
          </a:p>
        </p:txBody>
      </p:sp>
      <p:sp>
        <p:nvSpPr>
          <p:cNvPr id="6" name="Slide Number Placeholder 5"/>
          <p:cNvSpPr>
            <a:spLocks noGrp="1"/>
          </p:cNvSpPr>
          <p:nvPr>
            <p:ph type="sldNum" sz="quarter" idx="12"/>
          </p:nvPr>
        </p:nvSpPr>
        <p:spPr/>
        <p:txBody>
          <a:bodyPr/>
          <a:lstStyle/>
          <a:p>
            <a:fld id="{B156335E-CE13-934F-A4BC-F1C1CD2FD74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8459048"/>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1"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1"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C2C39D82-36C1-4EC2-80F5-B967B58714C8}" type="datetime1">
              <a:rPr lang="en-US" smtClean="0"/>
              <a:t>8/21/2023</a:t>
            </a:fld>
            <a:endParaRPr lang="en-US"/>
          </a:p>
        </p:txBody>
      </p:sp>
      <p:sp>
        <p:nvSpPr>
          <p:cNvPr id="5" name="Footer Placeholder 4"/>
          <p:cNvSpPr>
            <a:spLocks noGrp="1"/>
          </p:cNvSpPr>
          <p:nvPr>
            <p:ph type="ftr" sz="quarter" idx="11"/>
          </p:nvPr>
        </p:nvSpPr>
        <p:spPr/>
        <p:txBody>
          <a:bodyPr/>
          <a:lstStyle/>
          <a:p>
            <a:r>
              <a:rPr lang="en-US"/>
              <a:t>CONFIDENTIALITY NOTICE: This document is privileged and confidential under the Illinois Medical Studies Act and should not be shared or distributed other than through the Rush University Medical Center quality improvement committee structure.</a:t>
            </a:r>
          </a:p>
        </p:txBody>
      </p:sp>
      <p:sp>
        <p:nvSpPr>
          <p:cNvPr id="6" name="Slide Number Placeholder 5"/>
          <p:cNvSpPr>
            <a:spLocks noGrp="1"/>
          </p:cNvSpPr>
          <p:nvPr>
            <p:ph type="sldNum" sz="quarter" idx="12"/>
          </p:nvPr>
        </p:nvSpPr>
        <p:spPr/>
        <p:txBody>
          <a:bodyPr/>
          <a:lstStyle/>
          <a:p>
            <a:fld id="{B156335E-CE13-934F-A4BC-F1C1CD2FD744}" type="slidenum">
              <a:rPr lang="en-US" smtClean="0"/>
              <a:t>‹#›</a:t>
            </a:fld>
            <a:endParaRPr lang="en-US"/>
          </a:p>
        </p:txBody>
      </p:sp>
    </p:spTree>
    <p:extLst>
      <p:ext uri="{BB962C8B-B14F-4D97-AF65-F5344CB8AC3E}">
        <p14:creationId xmlns:p14="http://schemas.microsoft.com/office/powerpoint/2010/main" val="2422499521"/>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166C135-3845-45CD-9F15-0C028721B40B}" type="datetime1">
              <a:rPr lang="en-US" smtClean="0"/>
              <a:t>8/21/2023</a:t>
            </a:fld>
            <a:endParaRPr lang="en-US"/>
          </a:p>
        </p:txBody>
      </p:sp>
      <p:sp>
        <p:nvSpPr>
          <p:cNvPr id="5" name="Footer Placeholder 4"/>
          <p:cNvSpPr>
            <a:spLocks noGrp="1"/>
          </p:cNvSpPr>
          <p:nvPr>
            <p:ph type="ftr" sz="quarter" idx="11"/>
          </p:nvPr>
        </p:nvSpPr>
        <p:spPr/>
        <p:txBody>
          <a:bodyPr/>
          <a:lstStyle/>
          <a:p>
            <a:r>
              <a:rPr lang="en-US"/>
              <a:t>CONFIDENTIALITY NOTICE: This document is privileged and confidential under the Illinois Medical Studies Act and should not be shared or distributed other than through the Rush University Medical Center quality improvement committee structure.</a:t>
            </a:r>
          </a:p>
        </p:txBody>
      </p:sp>
      <p:sp>
        <p:nvSpPr>
          <p:cNvPr id="6" name="Slide Number Placeholder 5"/>
          <p:cNvSpPr>
            <a:spLocks noGrp="1"/>
          </p:cNvSpPr>
          <p:nvPr>
            <p:ph type="sldNum" sz="quarter" idx="12"/>
          </p:nvPr>
        </p:nvSpPr>
        <p:spPr/>
        <p:txBody>
          <a:bodyPr/>
          <a:lstStyle/>
          <a:p>
            <a:fld id="{B156335E-CE13-934F-A4BC-F1C1CD2FD744}" type="slidenum">
              <a:rPr lang="en-US" smtClean="0"/>
              <a:t>‹#›</a:t>
            </a:fld>
            <a:endParaRPr lang="en-US"/>
          </a:p>
        </p:txBody>
      </p:sp>
    </p:spTree>
    <p:extLst>
      <p:ext uri="{BB962C8B-B14F-4D97-AF65-F5344CB8AC3E}">
        <p14:creationId xmlns:p14="http://schemas.microsoft.com/office/powerpoint/2010/main" val="3017274008"/>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3CE1BEF-0086-4552-B398-56732069EA3D}" type="datetime1">
              <a:rPr lang="en-US" smtClean="0"/>
              <a:t>8/21/2023</a:t>
            </a:fld>
            <a:endParaRPr lang="en-US"/>
          </a:p>
        </p:txBody>
      </p:sp>
      <p:sp>
        <p:nvSpPr>
          <p:cNvPr id="5" name="Footer Placeholder 4"/>
          <p:cNvSpPr>
            <a:spLocks noGrp="1"/>
          </p:cNvSpPr>
          <p:nvPr>
            <p:ph type="ftr" sz="quarter" idx="11"/>
          </p:nvPr>
        </p:nvSpPr>
        <p:spPr/>
        <p:txBody>
          <a:bodyPr/>
          <a:lstStyle/>
          <a:p>
            <a:r>
              <a:rPr lang="en-US"/>
              <a:t>CONFIDENTIALITY NOTICE: This document is privileged and confidential under the Illinois Medical Studies Act and should not be shared or distributed other than through the Rush University Medical Center quality improvement committee structure.</a:t>
            </a:r>
          </a:p>
        </p:txBody>
      </p:sp>
      <p:sp>
        <p:nvSpPr>
          <p:cNvPr id="6" name="Slide Number Placeholder 5"/>
          <p:cNvSpPr>
            <a:spLocks noGrp="1"/>
          </p:cNvSpPr>
          <p:nvPr>
            <p:ph type="sldNum" sz="quarter" idx="12"/>
          </p:nvPr>
        </p:nvSpPr>
        <p:spPr/>
        <p:txBody>
          <a:bodyPr/>
          <a:lstStyle/>
          <a:p>
            <a:fld id="{B156335E-CE13-934F-A4BC-F1C1CD2FD744}" type="slidenum">
              <a:rPr lang="en-US" smtClean="0"/>
              <a:t>‹#›</a:t>
            </a:fld>
            <a:endParaRPr lang="en-US"/>
          </a:p>
        </p:txBody>
      </p:sp>
    </p:spTree>
    <p:extLst>
      <p:ext uri="{BB962C8B-B14F-4D97-AF65-F5344CB8AC3E}">
        <p14:creationId xmlns:p14="http://schemas.microsoft.com/office/powerpoint/2010/main" val="3168552933"/>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2"/>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2"/>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1741F4E-C1E4-4363-A97B-C6AC57A15B08}" type="datetime1">
              <a:rPr lang="en-US" smtClean="0"/>
              <a:t>8/21/2023</a:t>
            </a:fld>
            <a:endParaRPr lang="en-US"/>
          </a:p>
        </p:txBody>
      </p:sp>
      <p:sp>
        <p:nvSpPr>
          <p:cNvPr id="6" name="Footer Placeholder 5"/>
          <p:cNvSpPr>
            <a:spLocks noGrp="1"/>
          </p:cNvSpPr>
          <p:nvPr>
            <p:ph type="ftr" sz="quarter" idx="11"/>
          </p:nvPr>
        </p:nvSpPr>
        <p:spPr/>
        <p:txBody>
          <a:bodyPr/>
          <a:lstStyle/>
          <a:p>
            <a:r>
              <a:rPr lang="en-US"/>
              <a:t>CONFIDENTIALITY NOTICE: This document is privileged and confidential under the Illinois Medical Studies Act and should not be shared or distributed other than through the Rush University Medical Center quality improvement committee structure.</a:t>
            </a:r>
          </a:p>
        </p:txBody>
      </p:sp>
      <p:sp>
        <p:nvSpPr>
          <p:cNvPr id="7" name="Slide Number Placeholder 6"/>
          <p:cNvSpPr>
            <a:spLocks noGrp="1"/>
          </p:cNvSpPr>
          <p:nvPr>
            <p:ph type="sldNum" sz="quarter" idx="12"/>
          </p:nvPr>
        </p:nvSpPr>
        <p:spPr/>
        <p:txBody>
          <a:bodyPr/>
          <a:lstStyle/>
          <a:p>
            <a:fld id="{B156335E-CE13-934F-A4BC-F1C1CD2FD744}" type="slidenum">
              <a:rPr lang="en-US" smtClean="0"/>
              <a:t>‹#›</a:t>
            </a:fld>
            <a:endParaRPr lang="en-US"/>
          </a:p>
        </p:txBody>
      </p:sp>
    </p:spTree>
    <p:extLst>
      <p:ext uri="{BB962C8B-B14F-4D97-AF65-F5344CB8AC3E}">
        <p14:creationId xmlns:p14="http://schemas.microsoft.com/office/powerpoint/2010/main" val="541246057"/>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7"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7"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B4830C4-180A-4481-AA23-07F9950E0850}" type="datetime1">
              <a:rPr lang="en-US" smtClean="0"/>
              <a:t>8/21/2023</a:t>
            </a:fld>
            <a:endParaRPr lang="en-US"/>
          </a:p>
        </p:txBody>
      </p:sp>
      <p:sp>
        <p:nvSpPr>
          <p:cNvPr id="8" name="Footer Placeholder 7"/>
          <p:cNvSpPr>
            <a:spLocks noGrp="1"/>
          </p:cNvSpPr>
          <p:nvPr>
            <p:ph type="ftr" sz="quarter" idx="11"/>
          </p:nvPr>
        </p:nvSpPr>
        <p:spPr/>
        <p:txBody>
          <a:bodyPr/>
          <a:lstStyle/>
          <a:p>
            <a:r>
              <a:rPr lang="en-US"/>
              <a:t>CONFIDENTIALITY NOTICE: This document is privileged and confidential under the Illinois Medical Studies Act and should not be shared or distributed other than through the Rush University Medical Center quality improvement committee structure.</a:t>
            </a:r>
          </a:p>
        </p:txBody>
      </p:sp>
      <p:sp>
        <p:nvSpPr>
          <p:cNvPr id="9" name="Slide Number Placeholder 8"/>
          <p:cNvSpPr>
            <a:spLocks noGrp="1"/>
          </p:cNvSpPr>
          <p:nvPr>
            <p:ph type="sldNum" sz="quarter" idx="12"/>
          </p:nvPr>
        </p:nvSpPr>
        <p:spPr/>
        <p:txBody>
          <a:bodyPr/>
          <a:lstStyle/>
          <a:p>
            <a:fld id="{B156335E-CE13-934F-A4BC-F1C1CD2FD744}" type="slidenum">
              <a:rPr lang="en-US" smtClean="0"/>
              <a:t>‹#›</a:t>
            </a:fld>
            <a:endParaRPr lang="en-US"/>
          </a:p>
        </p:txBody>
      </p:sp>
    </p:spTree>
    <p:extLst>
      <p:ext uri="{BB962C8B-B14F-4D97-AF65-F5344CB8AC3E}">
        <p14:creationId xmlns:p14="http://schemas.microsoft.com/office/powerpoint/2010/main" val="1754570687"/>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422F012-1656-4100-BDDA-D027D23E33D9}" type="datetime1">
              <a:rPr lang="en-US" smtClean="0"/>
              <a:t>8/21/2023</a:t>
            </a:fld>
            <a:endParaRPr lang="en-US"/>
          </a:p>
        </p:txBody>
      </p:sp>
      <p:sp>
        <p:nvSpPr>
          <p:cNvPr id="4" name="Footer Placeholder 3"/>
          <p:cNvSpPr>
            <a:spLocks noGrp="1"/>
          </p:cNvSpPr>
          <p:nvPr>
            <p:ph type="ftr" sz="quarter" idx="11"/>
          </p:nvPr>
        </p:nvSpPr>
        <p:spPr/>
        <p:txBody>
          <a:bodyPr/>
          <a:lstStyle/>
          <a:p>
            <a:r>
              <a:rPr lang="en-US"/>
              <a:t>CONFIDENTIALITY NOTICE: This document is privileged and confidential under the Illinois Medical Studies Act and should not be shared or distributed other than through the Rush University Medical Center quality improvement committee structure.</a:t>
            </a:r>
          </a:p>
        </p:txBody>
      </p:sp>
      <p:sp>
        <p:nvSpPr>
          <p:cNvPr id="5" name="Slide Number Placeholder 4"/>
          <p:cNvSpPr>
            <a:spLocks noGrp="1"/>
          </p:cNvSpPr>
          <p:nvPr>
            <p:ph type="sldNum" sz="quarter" idx="12"/>
          </p:nvPr>
        </p:nvSpPr>
        <p:spPr/>
        <p:txBody>
          <a:bodyPr/>
          <a:lstStyle/>
          <a:p>
            <a:fld id="{B156335E-CE13-934F-A4BC-F1C1CD2FD744}" type="slidenum">
              <a:rPr lang="en-US" smtClean="0"/>
              <a:t>‹#›</a:t>
            </a:fld>
            <a:endParaRPr lang="en-US"/>
          </a:p>
        </p:txBody>
      </p:sp>
    </p:spTree>
    <p:extLst>
      <p:ext uri="{BB962C8B-B14F-4D97-AF65-F5344CB8AC3E}">
        <p14:creationId xmlns:p14="http://schemas.microsoft.com/office/powerpoint/2010/main" val="1362972225"/>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BEBB09E-97EE-41B7-9EC2-0A2A7BFF4763}" type="datetime1">
              <a:rPr lang="en-US" smtClean="0"/>
              <a:t>8/21/2023</a:t>
            </a:fld>
            <a:endParaRPr lang="en-US"/>
          </a:p>
        </p:txBody>
      </p:sp>
      <p:sp>
        <p:nvSpPr>
          <p:cNvPr id="3" name="Footer Placeholder 2"/>
          <p:cNvSpPr>
            <a:spLocks noGrp="1"/>
          </p:cNvSpPr>
          <p:nvPr>
            <p:ph type="ftr" sz="quarter" idx="11"/>
          </p:nvPr>
        </p:nvSpPr>
        <p:spPr/>
        <p:txBody>
          <a:bodyPr/>
          <a:lstStyle/>
          <a:p>
            <a:r>
              <a:rPr lang="en-US"/>
              <a:t>CONFIDENTIALITY NOTICE: This document is privileged and confidential under the Illinois Medical Studies Act and should not be shared or distributed other than through the Rush University Medical Center quality improvement committee structure.</a:t>
            </a:r>
          </a:p>
        </p:txBody>
      </p:sp>
      <p:sp>
        <p:nvSpPr>
          <p:cNvPr id="4" name="Slide Number Placeholder 3"/>
          <p:cNvSpPr>
            <a:spLocks noGrp="1"/>
          </p:cNvSpPr>
          <p:nvPr>
            <p:ph type="sldNum" sz="quarter" idx="12"/>
          </p:nvPr>
        </p:nvSpPr>
        <p:spPr/>
        <p:txBody>
          <a:bodyPr/>
          <a:lstStyle/>
          <a:p>
            <a:fld id="{B156335E-CE13-934F-A4BC-F1C1CD2FD744}" type="slidenum">
              <a:rPr lang="en-US" smtClean="0"/>
              <a:t>‹#›</a:t>
            </a:fld>
            <a:endParaRPr lang="en-US"/>
          </a:p>
        </p:txBody>
      </p:sp>
    </p:spTree>
    <p:extLst>
      <p:ext uri="{BB962C8B-B14F-4D97-AF65-F5344CB8AC3E}">
        <p14:creationId xmlns:p14="http://schemas.microsoft.com/office/powerpoint/2010/main" val="2555547929"/>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2"/>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2"/>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4FFA200-F2ED-4DFA-8BB7-6AE5309EBD6A}" type="datetime1">
              <a:rPr lang="en-US" smtClean="0"/>
              <a:t>8/21/2023</a:t>
            </a:fld>
            <a:endParaRPr lang="en-US"/>
          </a:p>
        </p:txBody>
      </p:sp>
      <p:sp>
        <p:nvSpPr>
          <p:cNvPr id="6" name="Footer Placeholder 5"/>
          <p:cNvSpPr>
            <a:spLocks noGrp="1"/>
          </p:cNvSpPr>
          <p:nvPr>
            <p:ph type="ftr" sz="quarter" idx="11"/>
          </p:nvPr>
        </p:nvSpPr>
        <p:spPr/>
        <p:txBody>
          <a:bodyPr/>
          <a:lstStyle/>
          <a:p>
            <a:r>
              <a:rPr lang="en-US"/>
              <a:t>CONFIDENTIALITY NOTICE: This document is privileged and confidential under the Illinois Medical Studies Act and should not be shared or distributed other than through the Rush University Medical Center quality improvement committee structure.</a:t>
            </a:r>
          </a:p>
        </p:txBody>
      </p:sp>
      <p:sp>
        <p:nvSpPr>
          <p:cNvPr id="7" name="Slide Number Placeholder 6"/>
          <p:cNvSpPr>
            <a:spLocks noGrp="1"/>
          </p:cNvSpPr>
          <p:nvPr>
            <p:ph type="sldNum" sz="quarter" idx="12"/>
          </p:nvPr>
        </p:nvSpPr>
        <p:spPr/>
        <p:txBody>
          <a:bodyPr/>
          <a:lstStyle/>
          <a:p>
            <a:fld id="{B156335E-CE13-934F-A4BC-F1C1CD2FD744}" type="slidenum">
              <a:rPr lang="en-US" smtClean="0"/>
              <a:t>‹#›</a:t>
            </a:fld>
            <a:endParaRPr lang="en-US"/>
          </a:p>
        </p:txBody>
      </p:sp>
    </p:spTree>
    <p:extLst>
      <p:ext uri="{BB962C8B-B14F-4D97-AF65-F5344CB8AC3E}">
        <p14:creationId xmlns:p14="http://schemas.microsoft.com/office/powerpoint/2010/main" val="2090927108"/>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8"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8"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21BE6ABC-C2BF-438C-AA8E-9B149018D4F3}" type="datetime1">
              <a:rPr lang="en-US" smtClean="0"/>
              <a:t>8/21/2023</a:t>
            </a:fld>
            <a:endParaRPr lang="en-US"/>
          </a:p>
        </p:txBody>
      </p:sp>
      <p:sp>
        <p:nvSpPr>
          <p:cNvPr id="6" name="Footer Placeholder 5"/>
          <p:cNvSpPr>
            <a:spLocks noGrp="1"/>
          </p:cNvSpPr>
          <p:nvPr>
            <p:ph type="ftr" sz="quarter" idx="11"/>
          </p:nvPr>
        </p:nvSpPr>
        <p:spPr/>
        <p:txBody>
          <a:bodyPr/>
          <a:lstStyle/>
          <a:p>
            <a:r>
              <a:rPr lang="en-US"/>
              <a:t>CONFIDENTIALITY NOTICE: This document is privileged and confidential under the Illinois Medical Studies Act and should not be shared or distributed other than through the Rush University Medical Center quality improvement committee structure.</a:t>
            </a:r>
          </a:p>
        </p:txBody>
      </p:sp>
      <p:sp>
        <p:nvSpPr>
          <p:cNvPr id="7" name="Slide Number Placeholder 6"/>
          <p:cNvSpPr>
            <a:spLocks noGrp="1"/>
          </p:cNvSpPr>
          <p:nvPr>
            <p:ph type="sldNum" sz="quarter" idx="12"/>
          </p:nvPr>
        </p:nvSpPr>
        <p:spPr/>
        <p:txBody>
          <a:bodyPr/>
          <a:lstStyle/>
          <a:p>
            <a:fld id="{B156335E-CE13-934F-A4BC-F1C1CD2FD744}" type="slidenum">
              <a:rPr lang="en-US" smtClean="0"/>
              <a:t>‹#›</a:t>
            </a:fld>
            <a:endParaRPr lang="en-US"/>
          </a:p>
        </p:txBody>
      </p:sp>
    </p:spTree>
    <p:extLst>
      <p:ext uri="{BB962C8B-B14F-4D97-AF65-F5344CB8AC3E}">
        <p14:creationId xmlns:p14="http://schemas.microsoft.com/office/powerpoint/2010/main" val="22633115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8BD3D9B-FE6E-4749-AC71-68E3B161433F}" type="datetime1">
              <a:rPr lang="en-US" smtClean="0"/>
              <a:t>8/21/2023</a:t>
            </a:fld>
            <a:endParaRPr lang="en-US"/>
          </a:p>
        </p:txBody>
      </p:sp>
      <p:sp>
        <p:nvSpPr>
          <p:cNvPr id="5" name="Footer Placeholder 4"/>
          <p:cNvSpPr>
            <a:spLocks noGrp="1"/>
          </p:cNvSpPr>
          <p:nvPr>
            <p:ph type="ftr" sz="quarter" idx="11"/>
          </p:nvPr>
        </p:nvSpPr>
        <p:spPr/>
        <p:txBody>
          <a:bodyPr/>
          <a:lstStyle/>
          <a:p>
            <a:r>
              <a:rPr lang="en-US"/>
              <a:t>CONFIDENTIALITY NOTICE: This document is privileged and confidential under the Illinois Medical Studies Act and should not be shared or distributed other than through the Rush University Medical Center quality improvement committee structure.</a:t>
            </a:r>
          </a:p>
        </p:txBody>
      </p:sp>
      <p:sp>
        <p:nvSpPr>
          <p:cNvPr id="6" name="Slide Number Placeholder 5"/>
          <p:cNvSpPr>
            <a:spLocks noGrp="1"/>
          </p:cNvSpPr>
          <p:nvPr>
            <p:ph type="sldNum" sz="quarter" idx="12"/>
          </p:nvPr>
        </p:nvSpPr>
        <p:spPr/>
        <p:txBody>
          <a:bodyPr/>
          <a:lstStyle/>
          <a:p>
            <a:fld id="{B156335E-CE13-934F-A4BC-F1C1CD2FD744}" type="slidenum">
              <a:rPr lang="en-US" smtClean="0"/>
              <a:t>‹#›</a:t>
            </a:fld>
            <a:endParaRPr lang="en-US"/>
          </a:p>
        </p:txBody>
      </p:sp>
    </p:spTree>
    <p:extLst>
      <p:ext uri="{BB962C8B-B14F-4D97-AF65-F5344CB8AC3E}">
        <p14:creationId xmlns:p14="http://schemas.microsoft.com/office/powerpoint/2010/main" val="1399659757"/>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0"/>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40"/>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B6B54A9-F1E5-4813-A4B7-6FC094870951}" type="datetime1">
              <a:rPr lang="en-US" smtClean="0"/>
              <a:t>8/21/2023</a:t>
            </a:fld>
            <a:endParaRPr lang="en-US"/>
          </a:p>
        </p:txBody>
      </p:sp>
      <p:sp>
        <p:nvSpPr>
          <p:cNvPr id="5" name="Footer Placeholder 4"/>
          <p:cNvSpPr>
            <a:spLocks noGrp="1"/>
          </p:cNvSpPr>
          <p:nvPr>
            <p:ph type="ftr" sz="quarter" idx="11"/>
          </p:nvPr>
        </p:nvSpPr>
        <p:spPr/>
        <p:txBody>
          <a:bodyPr/>
          <a:lstStyle/>
          <a:p>
            <a:r>
              <a:rPr lang="en-US"/>
              <a:t>CONFIDENTIALITY NOTICE: This document is privileged and confidential under the Illinois Medical Studies Act and should not be shared or distributed other than through the Rush University Medical Center quality improvement committee structure.</a:t>
            </a:r>
          </a:p>
        </p:txBody>
      </p:sp>
      <p:sp>
        <p:nvSpPr>
          <p:cNvPr id="6" name="Slide Number Placeholder 5"/>
          <p:cNvSpPr>
            <a:spLocks noGrp="1"/>
          </p:cNvSpPr>
          <p:nvPr>
            <p:ph type="sldNum" sz="quarter" idx="12"/>
          </p:nvPr>
        </p:nvSpPr>
        <p:spPr/>
        <p:txBody>
          <a:bodyPr/>
          <a:lstStyle/>
          <a:p>
            <a:fld id="{B156335E-CE13-934F-A4BC-F1C1CD2FD744}" type="slidenum">
              <a:rPr lang="en-US" smtClean="0"/>
              <a:t>‹#›</a:t>
            </a:fld>
            <a:endParaRPr lang="en-US"/>
          </a:p>
        </p:txBody>
      </p:sp>
    </p:spTree>
    <p:extLst>
      <p:ext uri="{BB962C8B-B14F-4D97-AF65-F5344CB8AC3E}">
        <p14:creationId xmlns:p14="http://schemas.microsoft.com/office/powerpoint/2010/main" val="20892883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r>
              <a:rPr lang="en-US"/>
              <a:t>Click icon to add picture</a:t>
            </a:r>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67448306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1305786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977E4BD-558F-4F49-BCCC-8097ACDB3950}"/>
              </a:ext>
            </a:extLst>
          </p:cNvPr>
          <p:cNvCxnSpPr/>
          <p:nvPr userDrawn="1"/>
        </p:nvCxnSpPr>
        <p:spPr>
          <a:xfrm>
            <a:off x="704314"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2313908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854FD4E-2BB6-AE40-B89B-76CA55068800}"/>
              </a:ext>
            </a:extLst>
          </p:cNvPr>
          <p:cNvCxnSpPr/>
          <p:nvPr userDrawn="1"/>
        </p:nvCxnSpPr>
        <p:spPr>
          <a:xfrm>
            <a:off x="704314"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6623222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440646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5357221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0254907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392953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D2A368-37B4-AE41-8927-00C94D6431A1}"/>
              </a:ext>
            </a:extLst>
          </p:cNvPr>
          <p:cNvCxnSpPr/>
          <p:nvPr userDrawn="1"/>
        </p:nvCxnSpPr>
        <p:spPr>
          <a:xfrm>
            <a:off x="707293"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9978588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854280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6742148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8314366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0553273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3969051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357277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5116221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2338684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63568831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071494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73A1B7DC-DAD7-F944-AC53-2FDB50DEA0A1}"/>
              </a:ext>
            </a:extLst>
          </p:cNvPr>
          <p:cNvCxnSpPr>
            <a:cxnSpLocks/>
          </p:cNvCxnSpPr>
          <p:nvPr userDrawn="1"/>
        </p:nvCxnSpPr>
        <p:spPr>
          <a:xfrm>
            <a:off x="1325946" y="3080084"/>
            <a:ext cx="685399"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rmAutofit/>
          </a:bodyPr>
          <a:lstStyle>
            <a:lvl1pPr marL="0" indent="0">
              <a:buNone/>
              <a:defRPr sz="2000"/>
            </a:lvl1pPr>
          </a:lstStyle>
          <a:p>
            <a:pPr lvl="0"/>
            <a:r>
              <a:rPr lang="en-US"/>
              <a:t>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p:nvPr>
        </p:nvSpPr>
        <p:spPr>
          <a:xfrm>
            <a:off x="1219200" y="1887490"/>
            <a:ext cx="5582652" cy="1078262"/>
          </a:xfrm>
        </p:spPr>
        <p:txBody>
          <a:bodyPr>
            <a:normAutofit/>
          </a:bodyPr>
          <a:lstStyle>
            <a:lvl1pPr>
              <a:defRPr sz="6000"/>
            </a:lvl1pPr>
          </a:lstStyle>
          <a:p>
            <a:r>
              <a:rPr lang="en-US"/>
              <a:t>Click to edit Master title style</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363840106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2798898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0444802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7833896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917001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3151638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13078311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image" Target="../media/image4.jpeg"/><Relationship Id="rId5" Type="http://schemas.openxmlformats.org/officeDocument/2006/relationships/slideLayout" Target="../slideLayouts/slideLayout16.xml"/><Relationship Id="rId10"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117" Type="http://schemas.openxmlformats.org/officeDocument/2006/relationships/slideLayout" Target="../slideLayouts/slideLayout137.xml"/><Relationship Id="rId21" Type="http://schemas.openxmlformats.org/officeDocument/2006/relationships/slideLayout" Target="../slideLayouts/slideLayout41.xml"/><Relationship Id="rId42" Type="http://schemas.openxmlformats.org/officeDocument/2006/relationships/slideLayout" Target="../slideLayouts/slideLayout62.xml"/><Relationship Id="rId63" Type="http://schemas.openxmlformats.org/officeDocument/2006/relationships/slideLayout" Target="../slideLayouts/slideLayout83.xml"/><Relationship Id="rId84" Type="http://schemas.openxmlformats.org/officeDocument/2006/relationships/slideLayout" Target="../slideLayouts/slideLayout104.xml"/><Relationship Id="rId138" Type="http://schemas.openxmlformats.org/officeDocument/2006/relationships/slideLayout" Target="../slideLayouts/slideLayout158.xml"/><Relationship Id="rId159" Type="http://schemas.openxmlformats.org/officeDocument/2006/relationships/slideLayout" Target="../slideLayouts/slideLayout179.xml"/><Relationship Id="rId170" Type="http://schemas.openxmlformats.org/officeDocument/2006/relationships/slideLayout" Target="../slideLayouts/slideLayout190.xml"/><Relationship Id="rId191" Type="http://schemas.openxmlformats.org/officeDocument/2006/relationships/slideLayout" Target="../slideLayouts/slideLayout211.xml"/><Relationship Id="rId107" Type="http://schemas.openxmlformats.org/officeDocument/2006/relationships/slideLayout" Target="../slideLayouts/slideLayout127.xml"/><Relationship Id="rId11" Type="http://schemas.openxmlformats.org/officeDocument/2006/relationships/slideLayout" Target="../slideLayouts/slideLayout31.xml"/><Relationship Id="rId32" Type="http://schemas.openxmlformats.org/officeDocument/2006/relationships/slideLayout" Target="../slideLayouts/slideLayout52.xml"/><Relationship Id="rId53" Type="http://schemas.openxmlformats.org/officeDocument/2006/relationships/slideLayout" Target="../slideLayouts/slideLayout73.xml"/><Relationship Id="rId74" Type="http://schemas.openxmlformats.org/officeDocument/2006/relationships/slideLayout" Target="../slideLayouts/slideLayout94.xml"/><Relationship Id="rId128" Type="http://schemas.openxmlformats.org/officeDocument/2006/relationships/slideLayout" Target="../slideLayouts/slideLayout148.xml"/><Relationship Id="rId149" Type="http://schemas.openxmlformats.org/officeDocument/2006/relationships/slideLayout" Target="../slideLayouts/slideLayout169.xml"/><Relationship Id="rId5" Type="http://schemas.openxmlformats.org/officeDocument/2006/relationships/slideLayout" Target="../slideLayouts/slideLayout25.xml"/><Relationship Id="rId95" Type="http://schemas.openxmlformats.org/officeDocument/2006/relationships/slideLayout" Target="../slideLayouts/slideLayout115.xml"/><Relationship Id="rId160" Type="http://schemas.openxmlformats.org/officeDocument/2006/relationships/slideLayout" Target="../slideLayouts/slideLayout180.xml"/><Relationship Id="rId181" Type="http://schemas.openxmlformats.org/officeDocument/2006/relationships/slideLayout" Target="../slideLayouts/slideLayout201.xml"/><Relationship Id="rId22" Type="http://schemas.openxmlformats.org/officeDocument/2006/relationships/slideLayout" Target="../slideLayouts/slideLayout42.xml"/><Relationship Id="rId43" Type="http://schemas.openxmlformats.org/officeDocument/2006/relationships/slideLayout" Target="../slideLayouts/slideLayout63.xml"/><Relationship Id="rId64" Type="http://schemas.openxmlformats.org/officeDocument/2006/relationships/slideLayout" Target="../slideLayouts/slideLayout84.xml"/><Relationship Id="rId118" Type="http://schemas.openxmlformats.org/officeDocument/2006/relationships/slideLayout" Target="../slideLayouts/slideLayout138.xml"/><Relationship Id="rId139" Type="http://schemas.openxmlformats.org/officeDocument/2006/relationships/slideLayout" Target="../slideLayouts/slideLayout159.xml"/><Relationship Id="rId85" Type="http://schemas.openxmlformats.org/officeDocument/2006/relationships/slideLayout" Target="../slideLayouts/slideLayout105.xml"/><Relationship Id="rId150" Type="http://schemas.openxmlformats.org/officeDocument/2006/relationships/slideLayout" Target="../slideLayouts/slideLayout170.xml"/><Relationship Id="rId171" Type="http://schemas.openxmlformats.org/officeDocument/2006/relationships/slideLayout" Target="../slideLayouts/slideLayout191.xml"/><Relationship Id="rId192" Type="http://schemas.openxmlformats.org/officeDocument/2006/relationships/slideLayout" Target="../slideLayouts/slideLayout212.xml"/><Relationship Id="rId12" Type="http://schemas.openxmlformats.org/officeDocument/2006/relationships/slideLayout" Target="../slideLayouts/slideLayout32.xml"/><Relationship Id="rId33" Type="http://schemas.openxmlformats.org/officeDocument/2006/relationships/slideLayout" Target="../slideLayouts/slideLayout53.xml"/><Relationship Id="rId108" Type="http://schemas.openxmlformats.org/officeDocument/2006/relationships/slideLayout" Target="../slideLayouts/slideLayout128.xml"/><Relationship Id="rId129" Type="http://schemas.openxmlformats.org/officeDocument/2006/relationships/slideLayout" Target="../slideLayouts/slideLayout149.xml"/><Relationship Id="rId54" Type="http://schemas.openxmlformats.org/officeDocument/2006/relationships/slideLayout" Target="../slideLayouts/slideLayout74.xml"/><Relationship Id="rId75" Type="http://schemas.openxmlformats.org/officeDocument/2006/relationships/slideLayout" Target="../slideLayouts/slideLayout95.xml"/><Relationship Id="rId96" Type="http://schemas.openxmlformats.org/officeDocument/2006/relationships/slideLayout" Target="../slideLayouts/slideLayout116.xml"/><Relationship Id="rId140" Type="http://schemas.openxmlformats.org/officeDocument/2006/relationships/slideLayout" Target="../slideLayouts/slideLayout160.xml"/><Relationship Id="rId161" Type="http://schemas.openxmlformats.org/officeDocument/2006/relationships/slideLayout" Target="../slideLayouts/slideLayout181.xml"/><Relationship Id="rId182" Type="http://schemas.openxmlformats.org/officeDocument/2006/relationships/slideLayout" Target="../slideLayouts/slideLayout202.xml"/><Relationship Id="rId6" Type="http://schemas.openxmlformats.org/officeDocument/2006/relationships/slideLayout" Target="../slideLayouts/slideLayout26.xml"/><Relationship Id="rId23" Type="http://schemas.openxmlformats.org/officeDocument/2006/relationships/slideLayout" Target="../slideLayouts/slideLayout43.xml"/><Relationship Id="rId119" Type="http://schemas.openxmlformats.org/officeDocument/2006/relationships/slideLayout" Target="../slideLayouts/slideLayout139.xml"/><Relationship Id="rId44" Type="http://schemas.openxmlformats.org/officeDocument/2006/relationships/slideLayout" Target="../slideLayouts/slideLayout64.xml"/><Relationship Id="rId65" Type="http://schemas.openxmlformats.org/officeDocument/2006/relationships/slideLayout" Target="../slideLayouts/slideLayout85.xml"/><Relationship Id="rId86" Type="http://schemas.openxmlformats.org/officeDocument/2006/relationships/slideLayout" Target="../slideLayouts/slideLayout106.xml"/><Relationship Id="rId130" Type="http://schemas.openxmlformats.org/officeDocument/2006/relationships/slideLayout" Target="../slideLayouts/slideLayout150.xml"/><Relationship Id="rId151" Type="http://schemas.openxmlformats.org/officeDocument/2006/relationships/slideLayout" Target="../slideLayouts/slideLayout171.xml"/><Relationship Id="rId172" Type="http://schemas.openxmlformats.org/officeDocument/2006/relationships/slideLayout" Target="../slideLayouts/slideLayout192.xml"/><Relationship Id="rId193" Type="http://schemas.openxmlformats.org/officeDocument/2006/relationships/slideLayout" Target="../slideLayouts/slideLayout213.xml"/><Relationship Id="rId13" Type="http://schemas.openxmlformats.org/officeDocument/2006/relationships/slideLayout" Target="../slideLayouts/slideLayout33.xml"/><Relationship Id="rId109" Type="http://schemas.openxmlformats.org/officeDocument/2006/relationships/slideLayout" Target="../slideLayouts/slideLayout129.xml"/><Relationship Id="rId34" Type="http://schemas.openxmlformats.org/officeDocument/2006/relationships/slideLayout" Target="../slideLayouts/slideLayout54.xml"/><Relationship Id="rId55" Type="http://schemas.openxmlformats.org/officeDocument/2006/relationships/slideLayout" Target="../slideLayouts/slideLayout75.xml"/><Relationship Id="rId76" Type="http://schemas.openxmlformats.org/officeDocument/2006/relationships/slideLayout" Target="../slideLayouts/slideLayout96.xml"/><Relationship Id="rId97" Type="http://schemas.openxmlformats.org/officeDocument/2006/relationships/slideLayout" Target="../slideLayouts/slideLayout117.xml"/><Relationship Id="rId120" Type="http://schemas.openxmlformats.org/officeDocument/2006/relationships/slideLayout" Target="../slideLayouts/slideLayout140.xml"/><Relationship Id="rId141" Type="http://schemas.openxmlformats.org/officeDocument/2006/relationships/slideLayout" Target="../slideLayouts/slideLayout161.xml"/><Relationship Id="rId7" Type="http://schemas.openxmlformats.org/officeDocument/2006/relationships/slideLayout" Target="../slideLayouts/slideLayout27.xml"/><Relationship Id="rId162" Type="http://schemas.openxmlformats.org/officeDocument/2006/relationships/slideLayout" Target="../slideLayouts/slideLayout182.xml"/><Relationship Id="rId183" Type="http://schemas.openxmlformats.org/officeDocument/2006/relationships/slideLayout" Target="../slideLayouts/slideLayout203.xml"/><Relationship Id="rId2" Type="http://schemas.openxmlformats.org/officeDocument/2006/relationships/slideLayout" Target="../slideLayouts/slideLayout22.xml"/><Relationship Id="rId29" Type="http://schemas.openxmlformats.org/officeDocument/2006/relationships/slideLayout" Target="../slideLayouts/slideLayout49.xml"/><Relationship Id="rId24" Type="http://schemas.openxmlformats.org/officeDocument/2006/relationships/slideLayout" Target="../slideLayouts/slideLayout44.xml"/><Relationship Id="rId40" Type="http://schemas.openxmlformats.org/officeDocument/2006/relationships/slideLayout" Target="../slideLayouts/slideLayout60.xml"/><Relationship Id="rId45" Type="http://schemas.openxmlformats.org/officeDocument/2006/relationships/slideLayout" Target="../slideLayouts/slideLayout65.xml"/><Relationship Id="rId66" Type="http://schemas.openxmlformats.org/officeDocument/2006/relationships/slideLayout" Target="../slideLayouts/slideLayout86.xml"/><Relationship Id="rId87" Type="http://schemas.openxmlformats.org/officeDocument/2006/relationships/slideLayout" Target="../slideLayouts/slideLayout107.xml"/><Relationship Id="rId110" Type="http://schemas.openxmlformats.org/officeDocument/2006/relationships/slideLayout" Target="../slideLayouts/slideLayout130.xml"/><Relationship Id="rId115" Type="http://schemas.openxmlformats.org/officeDocument/2006/relationships/slideLayout" Target="../slideLayouts/slideLayout135.xml"/><Relationship Id="rId131" Type="http://schemas.openxmlformats.org/officeDocument/2006/relationships/slideLayout" Target="../slideLayouts/slideLayout151.xml"/><Relationship Id="rId136" Type="http://schemas.openxmlformats.org/officeDocument/2006/relationships/slideLayout" Target="../slideLayouts/slideLayout156.xml"/><Relationship Id="rId157" Type="http://schemas.openxmlformats.org/officeDocument/2006/relationships/slideLayout" Target="../slideLayouts/slideLayout177.xml"/><Relationship Id="rId178" Type="http://schemas.openxmlformats.org/officeDocument/2006/relationships/slideLayout" Target="../slideLayouts/slideLayout198.xml"/><Relationship Id="rId61" Type="http://schemas.openxmlformats.org/officeDocument/2006/relationships/slideLayout" Target="../slideLayouts/slideLayout81.xml"/><Relationship Id="rId82" Type="http://schemas.openxmlformats.org/officeDocument/2006/relationships/slideLayout" Target="../slideLayouts/slideLayout102.xml"/><Relationship Id="rId152" Type="http://schemas.openxmlformats.org/officeDocument/2006/relationships/slideLayout" Target="../slideLayouts/slideLayout172.xml"/><Relationship Id="rId173" Type="http://schemas.openxmlformats.org/officeDocument/2006/relationships/slideLayout" Target="../slideLayouts/slideLayout193.xml"/><Relationship Id="rId194" Type="http://schemas.openxmlformats.org/officeDocument/2006/relationships/slideLayout" Target="../slideLayouts/slideLayout214.xml"/><Relationship Id="rId199" Type="http://schemas.openxmlformats.org/officeDocument/2006/relationships/slideLayout" Target="../slideLayouts/slideLayout219.xml"/><Relationship Id="rId203" Type="http://schemas.openxmlformats.org/officeDocument/2006/relationships/theme" Target="../theme/theme3.xml"/><Relationship Id="rId19" Type="http://schemas.openxmlformats.org/officeDocument/2006/relationships/slideLayout" Target="../slideLayouts/slideLayout39.xml"/><Relationship Id="rId14" Type="http://schemas.openxmlformats.org/officeDocument/2006/relationships/slideLayout" Target="../slideLayouts/slideLayout34.xml"/><Relationship Id="rId30" Type="http://schemas.openxmlformats.org/officeDocument/2006/relationships/slideLayout" Target="../slideLayouts/slideLayout50.xml"/><Relationship Id="rId35" Type="http://schemas.openxmlformats.org/officeDocument/2006/relationships/slideLayout" Target="../slideLayouts/slideLayout55.xml"/><Relationship Id="rId56" Type="http://schemas.openxmlformats.org/officeDocument/2006/relationships/slideLayout" Target="../slideLayouts/slideLayout76.xml"/><Relationship Id="rId77" Type="http://schemas.openxmlformats.org/officeDocument/2006/relationships/slideLayout" Target="../slideLayouts/slideLayout97.xml"/><Relationship Id="rId100" Type="http://schemas.openxmlformats.org/officeDocument/2006/relationships/slideLayout" Target="../slideLayouts/slideLayout120.xml"/><Relationship Id="rId105" Type="http://schemas.openxmlformats.org/officeDocument/2006/relationships/slideLayout" Target="../slideLayouts/slideLayout125.xml"/><Relationship Id="rId126" Type="http://schemas.openxmlformats.org/officeDocument/2006/relationships/slideLayout" Target="../slideLayouts/slideLayout146.xml"/><Relationship Id="rId147" Type="http://schemas.openxmlformats.org/officeDocument/2006/relationships/slideLayout" Target="../slideLayouts/slideLayout167.xml"/><Relationship Id="rId168" Type="http://schemas.openxmlformats.org/officeDocument/2006/relationships/slideLayout" Target="../slideLayouts/slideLayout188.xml"/><Relationship Id="rId8" Type="http://schemas.openxmlformats.org/officeDocument/2006/relationships/slideLayout" Target="../slideLayouts/slideLayout28.xml"/><Relationship Id="rId51" Type="http://schemas.openxmlformats.org/officeDocument/2006/relationships/slideLayout" Target="../slideLayouts/slideLayout71.xml"/><Relationship Id="rId72" Type="http://schemas.openxmlformats.org/officeDocument/2006/relationships/slideLayout" Target="../slideLayouts/slideLayout92.xml"/><Relationship Id="rId93" Type="http://schemas.openxmlformats.org/officeDocument/2006/relationships/slideLayout" Target="../slideLayouts/slideLayout113.xml"/><Relationship Id="rId98" Type="http://schemas.openxmlformats.org/officeDocument/2006/relationships/slideLayout" Target="../slideLayouts/slideLayout118.xml"/><Relationship Id="rId121" Type="http://schemas.openxmlformats.org/officeDocument/2006/relationships/slideLayout" Target="../slideLayouts/slideLayout141.xml"/><Relationship Id="rId142" Type="http://schemas.openxmlformats.org/officeDocument/2006/relationships/slideLayout" Target="../slideLayouts/slideLayout162.xml"/><Relationship Id="rId163" Type="http://schemas.openxmlformats.org/officeDocument/2006/relationships/slideLayout" Target="../slideLayouts/slideLayout183.xml"/><Relationship Id="rId184" Type="http://schemas.openxmlformats.org/officeDocument/2006/relationships/slideLayout" Target="../slideLayouts/slideLayout204.xml"/><Relationship Id="rId189" Type="http://schemas.openxmlformats.org/officeDocument/2006/relationships/slideLayout" Target="../slideLayouts/slideLayout209.xml"/><Relationship Id="rId3" Type="http://schemas.openxmlformats.org/officeDocument/2006/relationships/slideLayout" Target="../slideLayouts/slideLayout23.xml"/><Relationship Id="rId25" Type="http://schemas.openxmlformats.org/officeDocument/2006/relationships/slideLayout" Target="../slideLayouts/slideLayout45.xml"/><Relationship Id="rId46" Type="http://schemas.openxmlformats.org/officeDocument/2006/relationships/slideLayout" Target="../slideLayouts/slideLayout66.xml"/><Relationship Id="rId67" Type="http://schemas.openxmlformats.org/officeDocument/2006/relationships/slideLayout" Target="../slideLayouts/slideLayout87.xml"/><Relationship Id="rId116" Type="http://schemas.openxmlformats.org/officeDocument/2006/relationships/slideLayout" Target="../slideLayouts/slideLayout136.xml"/><Relationship Id="rId137" Type="http://schemas.openxmlformats.org/officeDocument/2006/relationships/slideLayout" Target="../slideLayouts/slideLayout157.xml"/><Relationship Id="rId158" Type="http://schemas.openxmlformats.org/officeDocument/2006/relationships/slideLayout" Target="../slideLayouts/slideLayout178.xml"/><Relationship Id="rId20" Type="http://schemas.openxmlformats.org/officeDocument/2006/relationships/slideLayout" Target="../slideLayouts/slideLayout40.xml"/><Relationship Id="rId41" Type="http://schemas.openxmlformats.org/officeDocument/2006/relationships/slideLayout" Target="../slideLayouts/slideLayout61.xml"/><Relationship Id="rId62" Type="http://schemas.openxmlformats.org/officeDocument/2006/relationships/slideLayout" Target="../slideLayouts/slideLayout82.xml"/><Relationship Id="rId83" Type="http://schemas.openxmlformats.org/officeDocument/2006/relationships/slideLayout" Target="../slideLayouts/slideLayout103.xml"/><Relationship Id="rId88" Type="http://schemas.openxmlformats.org/officeDocument/2006/relationships/slideLayout" Target="../slideLayouts/slideLayout108.xml"/><Relationship Id="rId111" Type="http://schemas.openxmlformats.org/officeDocument/2006/relationships/slideLayout" Target="../slideLayouts/slideLayout131.xml"/><Relationship Id="rId132" Type="http://schemas.openxmlformats.org/officeDocument/2006/relationships/slideLayout" Target="../slideLayouts/slideLayout152.xml"/><Relationship Id="rId153" Type="http://schemas.openxmlformats.org/officeDocument/2006/relationships/slideLayout" Target="../slideLayouts/slideLayout173.xml"/><Relationship Id="rId174" Type="http://schemas.openxmlformats.org/officeDocument/2006/relationships/slideLayout" Target="../slideLayouts/slideLayout194.xml"/><Relationship Id="rId179" Type="http://schemas.openxmlformats.org/officeDocument/2006/relationships/slideLayout" Target="../slideLayouts/slideLayout199.xml"/><Relationship Id="rId195" Type="http://schemas.openxmlformats.org/officeDocument/2006/relationships/slideLayout" Target="../slideLayouts/slideLayout215.xml"/><Relationship Id="rId190" Type="http://schemas.openxmlformats.org/officeDocument/2006/relationships/slideLayout" Target="../slideLayouts/slideLayout210.xml"/><Relationship Id="rId15" Type="http://schemas.openxmlformats.org/officeDocument/2006/relationships/slideLayout" Target="../slideLayouts/slideLayout35.xml"/><Relationship Id="rId36" Type="http://schemas.openxmlformats.org/officeDocument/2006/relationships/slideLayout" Target="../slideLayouts/slideLayout56.xml"/><Relationship Id="rId57" Type="http://schemas.openxmlformats.org/officeDocument/2006/relationships/slideLayout" Target="../slideLayouts/slideLayout77.xml"/><Relationship Id="rId106" Type="http://schemas.openxmlformats.org/officeDocument/2006/relationships/slideLayout" Target="../slideLayouts/slideLayout126.xml"/><Relationship Id="rId127" Type="http://schemas.openxmlformats.org/officeDocument/2006/relationships/slideLayout" Target="../slideLayouts/slideLayout147.xml"/><Relationship Id="rId10" Type="http://schemas.openxmlformats.org/officeDocument/2006/relationships/slideLayout" Target="../slideLayouts/slideLayout30.xml"/><Relationship Id="rId31" Type="http://schemas.openxmlformats.org/officeDocument/2006/relationships/slideLayout" Target="../slideLayouts/slideLayout51.xml"/><Relationship Id="rId52" Type="http://schemas.openxmlformats.org/officeDocument/2006/relationships/slideLayout" Target="../slideLayouts/slideLayout72.xml"/><Relationship Id="rId73" Type="http://schemas.openxmlformats.org/officeDocument/2006/relationships/slideLayout" Target="../slideLayouts/slideLayout93.xml"/><Relationship Id="rId78" Type="http://schemas.openxmlformats.org/officeDocument/2006/relationships/slideLayout" Target="../slideLayouts/slideLayout98.xml"/><Relationship Id="rId94" Type="http://schemas.openxmlformats.org/officeDocument/2006/relationships/slideLayout" Target="../slideLayouts/slideLayout114.xml"/><Relationship Id="rId99" Type="http://schemas.openxmlformats.org/officeDocument/2006/relationships/slideLayout" Target="../slideLayouts/slideLayout119.xml"/><Relationship Id="rId101" Type="http://schemas.openxmlformats.org/officeDocument/2006/relationships/slideLayout" Target="../slideLayouts/slideLayout121.xml"/><Relationship Id="rId122" Type="http://schemas.openxmlformats.org/officeDocument/2006/relationships/slideLayout" Target="../slideLayouts/slideLayout142.xml"/><Relationship Id="rId143" Type="http://schemas.openxmlformats.org/officeDocument/2006/relationships/slideLayout" Target="../slideLayouts/slideLayout163.xml"/><Relationship Id="rId148" Type="http://schemas.openxmlformats.org/officeDocument/2006/relationships/slideLayout" Target="../slideLayouts/slideLayout168.xml"/><Relationship Id="rId164" Type="http://schemas.openxmlformats.org/officeDocument/2006/relationships/slideLayout" Target="../slideLayouts/slideLayout184.xml"/><Relationship Id="rId169" Type="http://schemas.openxmlformats.org/officeDocument/2006/relationships/slideLayout" Target="../slideLayouts/slideLayout189.xml"/><Relationship Id="rId185" Type="http://schemas.openxmlformats.org/officeDocument/2006/relationships/slideLayout" Target="../slideLayouts/slideLayout205.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80" Type="http://schemas.openxmlformats.org/officeDocument/2006/relationships/slideLayout" Target="../slideLayouts/slideLayout200.xml"/><Relationship Id="rId26" Type="http://schemas.openxmlformats.org/officeDocument/2006/relationships/slideLayout" Target="../slideLayouts/slideLayout46.xml"/><Relationship Id="rId47" Type="http://schemas.openxmlformats.org/officeDocument/2006/relationships/slideLayout" Target="../slideLayouts/slideLayout67.xml"/><Relationship Id="rId68" Type="http://schemas.openxmlformats.org/officeDocument/2006/relationships/slideLayout" Target="../slideLayouts/slideLayout88.xml"/><Relationship Id="rId89" Type="http://schemas.openxmlformats.org/officeDocument/2006/relationships/slideLayout" Target="../slideLayouts/slideLayout109.xml"/><Relationship Id="rId112" Type="http://schemas.openxmlformats.org/officeDocument/2006/relationships/slideLayout" Target="../slideLayouts/slideLayout132.xml"/><Relationship Id="rId133" Type="http://schemas.openxmlformats.org/officeDocument/2006/relationships/slideLayout" Target="../slideLayouts/slideLayout153.xml"/><Relationship Id="rId154" Type="http://schemas.openxmlformats.org/officeDocument/2006/relationships/slideLayout" Target="../slideLayouts/slideLayout174.xml"/><Relationship Id="rId175" Type="http://schemas.openxmlformats.org/officeDocument/2006/relationships/slideLayout" Target="../slideLayouts/slideLayout195.xml"/><Relationship Id="rId196" Type="http://schemas.openxmlformats.org/officeDocument/2006/relationships/slideLayout" Target="../slideLayouts/slideLayout216.xml"/><Relationship Id="rId200" Type="http://schemas.openxmlformats.org/officeDocument/2006/relationships/slideLayout" Target="../slideLayouts/slideLayout220.xml"/><Relationship Id="rId16" Type="http://schemas.openxmlformats.org/officeDocument/2006/relationships/slideLayout" Target="../slideLayouts/slideLayout36.xml"/><Relationship Id="rId37" Type="http://schemas.openxmlformats.org/officeDocument/2006/relationships/slideLayout" Target="../slideLayouts/slideLayout57.xml"/><Relationship Id="rId58" Type="http://schemas.openxmlformats.org/officeDocument/2006/relationships/slideLayout" Target="../slideLayouts/slideLayout78.xml"/><Relationship Id="rId79" Type="http://schemas.openxmlformats.org/officeDocument/2006/relationships/slideLayout" Target="../slideLayouts/slideLayout99.xml"/><Relationship Id="rId102" Type="http://schemas.openxmlformats.org/officeDocument/2006/relationships/slideLayout" Target="../slideLayouts/slideLayout122.xml"/><Relationship Id="rId123" Type="http://schemas.openxmlformats.org/officeDocument/2006/relationships/slideLayout" Target="../slideLayouts/slideLayout143.xml"/><Relationship Id="rId144" Type="http://schemas.openxmlformats.org/officeDocument/2006/relationships/slideLayout" Target="../slideLayouts/slideLayout164.xml"/><Relationship Id="rId90" Type="http://schemas.openxmlformats.org/officeDocument/2006/relationships/slideLayout" Target="../slideLayouts/slideLayout110.xml"/><Relationship Id="rId165" Type="http://schemas.openxmlformats.org/officeDocument/2006/relationships/slideLayout" Target="../slideLayouts/slideLayout185.xml"/><Relationship Id="rId186" Type="http://schemas.openxmlformats.org/officeDocument/2006/relationships/slideLayout" Target="../slideLayouts/slideLayout206.xml"/><Relationship Id="rId27" Type="http://schemas.openxmlformats.org/officeDocument/2006/relationships/slideLayout" Target="../slideLayouts/slideLayout47.xml"/><Relationship Id="rId48" Type="http://schemas.openxmlformats.org/officeDocument/2006/relationships/slideLayout" Target="../slideLayouts/slideLayout68.xml"/><Relationship Id="rId69" Type="http://schemas.openxmlformats.org/officeDocument/2006/relationships/slideLayout" Target="../slideLayouts/slideLayout89.xml"/><Relationship Id="rId113" Type="http://schemas.openxmlformats.org/officeDocument/2006/relationships/slideLayout" Target="../slideLayouts/slideLayout133.xml"/><Relationship Id="rId134" Type="http://schemas.openxmlformats.org/officeDocument/2006/relationships/slideLayout" Target="../slideLayouts/slideLayout154.xml"/><Relationship Id="rId80" Type="http://schemas.openxmlformats.org/officeDocument/2006/relationships/slideLayout" Target="../slideLayouts/slideLayout100.xml"/><Relationship Id="rId155" Type="http://schemas.openxmlformats.org/officeDocument/2006/relationships/slideLayout" Target="../slideLayouts/slideLayout175.xml"/><Relationship Id="rId176" Type="http://schemas.openxmlformats.org/officeDocument/2006/relationships/slideLayout" Target="../slideLayouts/slideLayout196.xml"/><Relationship Id="rId197" Type="http://schemas.openxmlformats.org/officeDocument/2006/relationships/slideLayout" Target="../slideLayouts/slideLayout217.xml"/><Relationship Id="rId201" Type="http://schemas.openxmlformats.org/officeDocument/2006/relationships/slideLayout" Target="../slideLayouts/slideLayout221.xml"/><Relationship Id="rId17" Type="http://schemas.openxmlformats.org/officeDocument/2006/relationships/slideLayout" Target="../slideLayouts/slideLayout37.xml"/><Relationship Id="rId38" Type="http://schemas.openxmlformats.org/officeDocument/2006/relationships/slideLayout" Target="../slideLayouts/slideLayout58.xml"/><Relationship Id="rId59" Type="http://schemas.openxmlformats.org/officeDocument/2006/relationships/slideLayout" Target="../slideLayouts/slideLayout79.xml"/><Relationship Id="rId103" Type="http://schemas.openxmlformats.org/officeDocument/2006/relationships/slideLayout" Target="../slideLayouts/slideLayout123.xml"/><Relationship Id="rId124" Type="http://schemas.openxmlformats.org/officeDocument/2006/relationships/slideLayout" Target="../slideLayouts/slideLayout144.xml"/><Relationship Id="rId70" Type="http://schemas.openxmlformats.org/officeDocument/2006/relationships/slideLayout" Target="../slideLayouts/slideLayout90.xml"/><Relationship Id="rId91" Type="http://schemas.openxmlformats.org/officeDocument/2006/relationships/slideLayout" Target="../slideLayouts/slideLayout111.xml"/><Relationship Id="rId145" Type="http://schemas.openxmlformats.org/officeDocument/2006/relationships/slideLayout" Target="../slideLayouts/slideLayout165.xml"/><Relationship Id="rId166" Type="http://schemas.openxmlformats.org/officeDocument/2006/relationships/slideLayout" Target="../slideLayouts/slideLayout186.xml"/><Relationship Id="rId187" Type="http://schemas.openxmlformats.org/officeDocument/2006/relationships/slideLayout" Target="../slideLayouts/slideLayout207.xml"/><Relationship Id="rId1" Type="http://schemas.openxmlformats.org/officeDocument/2006/relationships/slideLayout" Target="../slideLayouts/slideLayout21.xml"/><Relationship Id="rId28" Type="http://schemas.openxmlformats.org/officeDocument/2006/relationships/slideLayout" Target="../slideLayouts/slideLayout48.xml"/><Relationship Id="rId49" Type="http://schemas.openxmlformats.org/officeDocument/2006/relationships/slideLayout" Target="../slideLayouts/slideLayout69.xml"/><Relationship Id="rId114" Type="http://schemas.openxmlformats.org/officeDocument/2006/relationships/slideLayout" Target="../slideLayouts/slideLayout134.xml"/><Relationship Id="rId60" Type="http://schemas.openxmlformats.org/officeDocument/2006/relationships/slideLayout" Target="../slideLayouts/slideLayout80.xml"/><Relationship Id="rId81" Type="http://schemas.openxmlformats.org/officeDocument/2006/relationships/slideLayout" Target="../slideLayouts/slideLayout101.xml"/><Relationship Id="rId135" Type="http://schemas.openxmlformats.org/officeDocument/2006/relationships/slideLayout" Target="../slideLayouts/slideLayout155.xml"/><Relationship Id="rId156" Type="http://schemas.openxmlformats.org/officeDocument/2006/relationships/slideLayout" Target="../slideLayouts/slideLayout176.xml"/><Relationship Id="rId177" Type="http://schemas.openxmlformats.org/officeDocument/2006/relationships/slideLayout" Target="../slideLayouts/slideLayout197.xml"/><Relationship Id="rId198" Type="http://schemas.openxmlformats.org/officeDocument/2006/relationships/slideLayout" Target="../slideLayouts/slideLayout218.xml"/><Relationship Id="rId202" Type="http://schemas.openxmlformats.org/officeDocument/2006/relationships/slideLayout" Target="../slideLayouts/slideLayout222.xml"/><Relationship Id="rId18" Type="http://schemas.openxmlformats.org/officeDocument/2006/relationships/slideLayout" Target="../slideLayouts/slideLayout38.xml"/><Relationship Id="rId39" Type="http://schemas.openxmlformats.org/officeDocument/2006/relationships/slideLayout" Target="../slideLayouts/slideLayout59.xml"/><Relationship Id="rId50" Type="http://schemas.openxmlformats.org/officeDocument/2006/relationships/slideLayout" Target="../slideLayouts/slideLayout70.xml"/><Relationship Id="rId104" Type="http://schemas.openxmlformats.org/officeDocument/2006/relationships/slideLayout" Target="../slideLayouts/slideLayout124.xml"/><Relationship Id="rId125" Type="http://schemas.openxmlformats.org/officeDocument/2006/relationships/slideLayout" Target="../slideLayouts/slideLayout145.xml"/><Relationship Id="rId146" Type="http://schemas.openxmlformats.org/officeDocument/2006/relationships/slideLayout" Target="../slideLayouts/slideLayout166.xml"/><Relationship Id="rId167" Type="http://schemas.openxmlformats.org/officeDocument/2006/relationships/slideLayout" Target="../slideLayouts/slideLayout187.xml"/><Relationship Id="rId188" Type="http://schemas.openxmlformats.org/officeDocument/2006/relationships/slideLayout" Target="../slideLayouts/slideLayout208.xml"/><Relationship Id="rId71" Type="http://schemas.openxmlformats.org/officeDocument/2006/relationships/slideLayout" Target="../slideLayouts/slideLayout91.xml"/><Relationship Id="rId92" Type="http://schemas.openxmlformats.org/officeDocument/2006/relationships/slideLayout" Target="../slideLayouts/slideLayout11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30.xml"/><Relationship Id="rId3" Type="http://schemas.openxmlformats.org/officeDocument/2006/relationships/slideLayout" Target="../slideLayouts/slideLayout225.xml"/><Relationship Id="rId7" Type="http://schemas.openxmlformats.org/officeDocument/2006/relationships/slideLayout" Target="../slideLayouts/slideLayout229.xml"/><Relationship Id="rId2" Type="http://schemas.openxmlformats.org/officeDocument/2006/relationships/slideLayout" Target="../slideLayouts/slideLayout224.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5" Type="http://schemas.openxmlformats.org/officeDocument/2006/relationships/slideLayout" Target="../slideLayouts/slideLayout227.xml"/><Relationship Id="rId10" Type="http://schemas.openxmlformats.org/officeDocument/2006/relationships/image" Target="../media/image40.jpeg"/><Relationship Id="rId4" Type="http://schemas.openxmlformats.org/officeDocument/2006/relationships/slideLayout" Target="../slideLayouts/slideLayout226.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38.xml"/><Relationship Id="rId3" Type="http://schemas.openxmlformats.org/officeDocument/2006/relationships/slideLayout" Target="../slideLayouts/slideLayout233.xml"/><Relationship Id="rId7" Type="http://schemas.openxmlformats.org/officeDocument/2006/relationships/slideLayout" Target="../slideLayouts/slideLayout237.xml"/><Relationship Id="rId2" Type="http://schemas.openxmlformats.org/officeDocument/2006/relationships/slideLayout" Target="../slideLayouts/slideLayout232.xml"/><Relationship Id="rId1" Type="http://schemas.openxmlformats.org/officeDocument/2006/relationships/slideLayout" Target="../slideLayouts/slideLayout231.xml"/><Relationship Id="rId6" Type="http://schemas.openxmlformats.org/officeDocument/2006/relationships/slideLayout" Target="../slideLayouts/slideLayout236.xml"/><Relationship Id="rId5" Type="http://schemas.openxmlformats.org/officeDocument/2006/relationships/slideLayout" Target="../slideLayouts/slideLayout235.xml"/><Relationship Id="rId10" Type="http://schemas.openxmlformats.org/officeDocument/2006/relationships/image" Target="../media/image42.jpeg"/><Relationship Id="rId4" Type="http://schemas.openxmlformats.org/officeDocument/2006/relationships/slideLayout" Target="../slideLayouts/slideLayout234.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46.xml"/><Relationship Id="rId13" Type="http://schemas.openxmlformats.org/officeDocument/2006/relationships/image" Target="../media/image46.emf"/><Relationship Id="rId3" Type="http://schemas.openxmlformats.org/officeDocument/2006/relationships/slideLayout" Target="../slideLayouts/slideLayout241.xml"/><Relationship Id="rId7" Type="http://schemas.openxmlformats.org/officeDocument/2006/relationships/slideLayout" Target="../slideLayouts/slideLayout245.xml"/><Relationship Id="rId12" Type="http://schemas.openxmlformats.org/officeDocument/2006/relationships/theme" Target="../theme/theme6.xml"/><Relationship Id="rId2" Type="http://schemas.openxmlformats.org/officeDocument/2006/relationships/slideLayout" Target="../slideLayouts/slideLayout240.xml"/><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slideLayout" Target="../slideLayouts/slideLayout249.xml"/><Relationship Id="rId5" Type="http://schemas.openxmlformats.org/officeDocument/2006/relationships/slideLayout" Target="../slideLayouts/slideLayout243.xml"/><Relationship Id="rId10" Type="http://schemas.openxmlformats.org/officeDocument/2006/relationships/slideLayout" Target="../slideLayouts/slideLayout248.xml"/><Relationship Id="rId4" Type="http://schemas.openxmlformats.org/officeDocument/2006/relationships/slideLayout" Target="../slideLayouts/slideLayout242.xml"/><Relationship Id="rId9" Type="http://schemas.openxmlformats.org/officeDocument/2006/relationships/slideLayout" Target="../slideLayouts/slideLayout24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57.xml"/><Relationship Id="rId13" Type="http://schemas.openxmlformats.org/officeDocument/2006/relationships/slideLayout" Target="../slideLayouts/slideLayout262.xml"/><Relationship Id="rId18" Type="http://schemas.openxmlformats.org/officeDocument/2006/relationships/slideLayout" Target="../slideLayouts/slideLayout267.xml"/><Relationship Id="rId3" Type="http://schemas.openxmlformats.org/officeDocument/2006/relationships/slideLayout" Target="../slideLayouts/slideLayout252.xml"/><Relationship Id="rId21" Type="http://schemas.openxmlformats.org/officeDocument/2006/relationships/theme" Target="../theme/theme7.xml"/><Relationship Id="rId7" Type="http://schemas.openxmlformats.org/officeDocument/2006/relationships/slideLayout" Target="../slideLayouts/slideLayout256.xml"/><Relationship Id="rId12" Type="http://schemas.openxmlformats.org/officeDocument/2006/relationships/slideLayout" Target="../slideLayouts/slideLayout261.xml"/><Relationship Id="rId17" Type="http://schemas.openxmlformats.org/officeDocument/2006/relationships/slideLayout" Target="../slideLayouts/slideLayout266.xml"/><Relationship Id="rId2" Type="http://schemas.openxmlformats.org/officeDocument/2006/relationships/slideLayout" Target="../slideLayouts/slideLayout251.xml"/><Relationship Id="rId16" Type="http://schemas.openxmlformats.org/officeDocument/2006/relationships/slideLayout" Target="../slideLayouts/slideLayout265.xml"/><Relationship Id="rId20" Type="http://schemas.openxmlformats.org/officeDocument/2006/relationships/slideLayout" Target="../slideLayouts/slideLayout269.xml"/><Relationship Id="rId1" Type="http://schemas.openxmlformats.org/officeDocument/2006/relationships/slideLayout" Target="../slideLayouts/slideLayout250.xml"/><Relationship Id="rId6" Type="http://schemas.openxmlformats.org/officeDocument/2006/relationships/slideLayout" Target="../slideLayouts/slideLayout255.xml"/><Relationship Id="rId11" Type="http://schemas.openxmlformats.org/officeDocument/2006/relationships/slideLayout" Target="../slideLayouts/slideLayout260.xml"/><Relationship Id="rId5" Type="http://schemas.openxmlformats.org/officeDocument/2006/relationships/slideLayout" Target="../slideLayouts/slideLayout254.xml"/><Relationship Id="rId15" Type="http://schemas.openxmlformats.org/officeDocument/2006/relationships/slideLayout" Target="../slideLayouts/slideLayout264.xml"/><Relationship Id="rId10" Type="http://schemas.openxmlformats.org/officeDocument/2006/relationships/slideLayout" Target="../slideLayouts/slideLayout259.xml"/><Relationship Id="rId19" Type="http://schemas.openxmlformats.org/officeDocument/2006/relationships/slideLayout" Target="../slideLayouts/slideLayout268.xml"/><Relationship Id="rId4" Type="http://schemas.openxmlformats.org/officeDocument/2006/relationships/slideLayout" Target="../slideLayouts/slideLayout253.xml"/><Relationship Id="rId9" Type="http://schemas.openxmlformats.org/officeDocument/2006/relationships/slideLayout" Target="../slideLayouts/slideLayout258.xml"/><Relationship Id="rId14" Type="http://schemas.openxmlformats.org/officeDocument/2006/relationships/slideLayout" Target="../slideLayouts/slideLayout26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77.xml"/><Relationship Id="rId13" Type="http://schemas.openxmlformats.org/officeDocument/2006/relationships/image" Target="../media/image51.emf"/><Relationship Id="rId3" Type="http://schemas.openxmlformats.org/officeDocument/2006/relationships/slideLayout" Target="../slideLayouts/slideLayout272.xml"/><Relationship Id="rId7" Type="http://schemas.openxmlformats.org/officeDocument/2006/relationships/slideLayout" Target="../slideLayouts/slideLayout276.xml"/><Relationship Id="rId12" Type="http://schemas.openxmlformats.org/officeDocument/2006/relationships/theme" Target="../theme/theme8.xml"/><Relationship Id="rId2" Type="http://schemas.openxmlformats.org/officeDocument/2006/relationships/slideLayout" Target="../slideLayouts/slideLayout271.xml"/><Relationship Id="rId1" Type="http://schemas.openxmlformats.org/officeDocument/2006/relationships/slideLayout" Target="../slideLayouts/slideLayout270.xml"/><Relationship Id="rId6" Type="http://schemas.openxmlformats.org/officeDocument/2006/relationships/slideLayout" Target="../slideLayouts/slideLayout275.xml"/><Relationship Id="rId11" Type="http://schemas.openxmlformats.org/officeDocument/2006/relationships/slideLayout" Target="../slideLayouts/slideLayout280.xml"/><Relationship Id="rId5" Type="http://schemas.openxmlformats.org/officeDocument/2006/relationships/slideLayout" Target="../slideLayouts/slideLayout274.xml"/><Relationship Id="rId10" Type="http://schemas.openxmlformats.org/officeDocument/2006/relationships/slideLayout" Target="../slideLayouts/slideLayout279.xml"/><Relationship Id="rId4" Type="http://schemas.openxmlformats.org/officeDocument/2006/relationships/slideLayout" Target="../slideLayouts/slideLayout273.xml"/><Relationship Id="rId9" Type="http://schemas.openxmlformats.org/officeDocument/2006/relationships/slideLayout" Target="../slideLayouts/slideLayout27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88.xml"/><Relationship Id="rId13" Type="http://schemas.openxmlformats.org/officeDocument/2006/relationships/image" Target="../media/image51.emf"/><Relationship Id="rId3" Type="http://schemas.openxmlformats.org/officeDocument/2006/relationships/slideLayout" Target="../slideLayouts/slideLayout283.xml"/><Relationship Id="rId7" Type="http://schemas.openxmlformats.org/officeDocument/2006/relationships/slideLayout" Target="../slideLayouts/slideLayout287.xml"/><Relationship Id="rId12" Type="http://schemas.openxmlformats.org/officeDocument/2006/relationships/theme" Target="../theme/theme9.xml"/><Relationship Id="rId2" Type="http://schemas.openxmlformats.org/officeDocument/2006/relationships/slideLayout" Target="../slideLayouts/slideLayout282.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slideLayout" Target="../slideLayouts/slideLayout291.xml"/><Relationship Id="rId5" Type="http://schemas.openxmlformats.org/officeDocument/2006/relationships/slideLayout" Target="../slideLayouts/slideLayout285.xml"/><Relationship Id="rId10" Type="http://schemas.openxmlformats.org/officeDocument/2006/relationships/slideLayout" Target="../slideLayouts/slideLayout290.xml"/><Relationship Id="rId4" Type="http://schemas.openxmlformats.org/officeDocument/2006/relationships/slideLayout" Target="../slideLayouts/slideLayout284.xml"/><Relationship Id="rId9" Type="http://schemas.openxmlformats.org/officeDocument/2006/relationships/slideLayout" Target="../slideLayouts/slideLayout28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3521776840"/>
      </p:ext>
    </p:extLst>
  </p:cSld>
  <p:clrMap bg1="lt1" tx1="dk1" bg2="lt2" tx2="dk2" accent1="accent1" accent2="accent2" accent3="accent3" accent4="accent4" accent5="accent5" accent6="accent6" hlink="hlink" folHlink="folHlink"/>
  <p:sldLayoutIdLst>
    <p:sldLayoutId id="2147483786" r:id="rId1"/>
    <p:sldLayoutId id="2147483785" r:id="rId2"/>
    <p:sldLayoutId id="2147483784" r:id="rId3"/>
    <p:sldLayoutId id="2147483783" r:id="rId4"/>
    <p:sldLayoutId id="2147483782" r:id="rId5"/>
    <p:sldLayoutId id="2147483781" r:id="rId6"/>
    <p:sldLayoutId id="2147483780" r:id="rId7"/>
    <p:sldLayoutId id="2147483779" r:id="rId8"/>
    <p:sldLayoutId id="2147483778" r:id="rId9"/>
    <p:sldLayoutId id="2147483777" r:id="rId10"/>
    <p:sldLayoutId id="2147483776" r:id="rId11"/>
  </p:sldLayoutIdLst>
  <p:hf hdr="0" dt="0"/>
  <p:txStyles>
    <p:titleStyle>
      <a:lvl1pPr algn="l" defTabSz="914400" rtl="0" eaLnBrk="1" latinLnBrk="0" hangingPunct="1">
        <a:lnSpc>
          <a:spcPct val="90000"/>
        </a:lnSpc>
        <a:spcBef>
          <a:spcPct val="0"/>
        </a:spcBef>
        <a:buNone/>
        <a:defRPr sz="3600" b="0" i="0" kern="1200">
          <a:solidFill>
            <a:schemeClr val="tx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a:xfrm flipH="1">
            <a:off x="0" y="-10160"/>
            <a:ext cx="12192000" cy="6868160"/>
          </a:xfrm>
          <a:prstGeom prst="rect">
            <a:avLst/>
          </a:prstGeom>
        </p:spPr>
      </p:pic>
      <p:sp>
        <p:nvSpPr>
          <p:cNvPr id="4" name="Slide Number Placeholder 5"/>
          <p:cNvSpPr>
            <a:spLocks noGrp="1"/>
          </p:cNvSpPr>
          <p:nvPr>
            <p:ph type="sldNum" sz="quarter" idx="4"/>
          </p:nvPr>
        </p:nvSpPr>
        <p:spPr>
          <a:xfrm>
            <a:off x="11406115" y="6423196"/>
            <a:ext cx="817696" cy="365125"/>
          </a:xfrm>
          <a:prstGeom prst="rect">
            <a:avLst/>
          </a:prstGeom>
        </p:spPr>
        <p:txBody>
          <a:bodyPr vert="horz" lIns="91440" tIns="45720" rIns="91440" bIns="45720" rtlCol="0" anchor="ctr"/>
          <a:lstStyle>
            <a:lvl1pPr algn="ctr">
              <a:defRPr sz="1467">
                <a:solidFill>
                  <a:schemeClr val="bg1"/>
                </a:solidFill>
              </a:defRPr>
            </a:lvl1pPr>
          </a:lstStyle>
          <a:p>
            <a:fld id="{B2C1BE1D-F557-C442-9DA9-8F06AF7B7A69}" type="slidenum">
              <a:rPr lang="en-US" smtClean="0"/>
              <a:pPr/>
              <a:t>‹#›</a:t>
            </a:fld>
            <a:endParaRPr lang="en-US"/>
          </a:p>
        </p:txBody>
      </p:sp>
    </p:spTree>
    <p:extLst>
      <p:ext uri="{BB962C8B-B14F-4D97-AF65-F5344CB8AC3E}">
        <p14:creationId xmlns:p14="http://schemas.microsoft.com/office/powerpoint/2010/main" val="2812269550"/>
      </p:ext>
    </p:extLst>
  </p:cSld>
  <p:clrMap bg1="lt1" tx1="dk1" bg2="lt2" tx2="dk2" accent1="accent1" accent2="accent2" accent3="accent3" accent4="accent4" accent5="accent5" accent6="accent6" hlink="hlink" folHlink="folHlink"/>
  <p:sldLayoutIdLst>
    <p:sldLayoutId id="2147483750" r:id="rId1"/>
    <p:sldLayoutId id="2147483751" r:id="rId2"/>
    <p:sldLayoutId id="2147484762" r:id="rId3"/>
    <p:sldLayoutId id="2147483753" r:id="rId4"/>
    <p:sldLayoutId id="2147483754" r:id="rId5"/>
    <p:sldLayoutId id="2147483755" r:id="rId6"/>
    <p:sldLayoutId id="2147483756" r:id="rId7"/>
    <p:sldLayoutId id="2147483757" r:id="rId8"/>
    <p:sldLayoutId id="2147483758" r:id="rId9"/>
  </p:sldLayoutIdLst>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2072306553"/>
      </p:ext>
    </p:extLst>
  </p:cSld>
  <p:clrMap bg1="lt1" tx1="dk1" bg2="lt2" tx2="dk2" accent1="accent1" accent2="accent2" accent3="accent3" accent4="accent4" accent5="accent5" accent6="accent6" hlink="hlink" folHlink="folHlink"/>
  <p:sldLayoutIdLst>
    <p:sldLayoutId id="2147483834" r:id="rId1"/>
    <p:sldLayoutId id="2147484559" r:id="rId2"/>
    <p:sldLayoutId id="2147483833" r:id="rId3"/>
    <p:sldLayoutId id="2147483836" r:id="rId4"/>
    <p:sldLayoutId id="2147483838" r:id="rId5"/>
    <p:sldLayoutId id="2147483839" r:id="rId6"/>
    <p:sldLayoutId id="2147483840" r:id="rId7"/>
    <p:sldLayoutId id="2147483841" r:id="rId8"/>
    <p:sldLayoutId id="2147483842" r:id="rId9"/>
    <p:sldLayoutId id="2147483843" r:id="rId10"/>
    <p:sldLayoutId id="2147484353" r:id="rId11"/>
    <p:sldLayoutId id="2147483835" r:id="rId12"/>
    <p:sldLayoutId id="2147483837" r:id="rId13"/>
    <p:sldLayoutId id="2147484354" r:id="rId14"/>
    <p:sldLayoutId id="2147484219" r:id="rId15"/>
    <p:sldLayoutId id="2147484220" r:id="rId16"/>
    <p:sldLayoutId id="2147484355" r:id="rId17"/>
    <p:sldLayoutId id="2147484356" r:id="rId18"/>
    <p:sldLayoutId id="2147484357" r:id="rId19"/>
    <p:sldLayoutId id="2147484358" r:id="rId20"/>
    <p:sldLayoutId id="2147483844" r:id="rId21"/>
    <p:sldLayoutId id="2147483845" r:id="rId22"/>
    <p:sldLayoutId id="2147484238" r:id="rId23"/>
    <p:sldLayoutId id="2147484200" r:id="rId24"/>
    <p:sldLayoutId id="2147484221" r:id="rId25"/>
    <p:sldLayoutId id="2147484202" r:id="rId26"/>
    <p:sldLayoutId id="2147484203" r:id="rId27"/>
    <p:sldLayoutId id="2147484204" r:id="rId28"/>
    <p:sldLayoutId id="2147484205" r:id="rId29"/>
    <p:sldLayoutId id="2147484206" r:id="rId30"/>
    <p:sldLayoutId id="2147484237" r:id="rId31"/>
    <p:sldLayoutId id="2147484208" r:id="rId32"/>
    <p:sldLayoutId id="2147485523" r:id="rId33"/>
    <p:sldLayoutId id="2147484359" r:id="rId34"/>
    <p:sldLayoutId id="2147484360" r:id="rId35"/>
    <p:sldLayoutId id="2147484361" r:id="rId36"/>
    <p:sldLayoutId id="2147483795" r:id="rId37"/>
    <p:sldLayoutId id="2147484346" r:id="rId38"/>
    <p:sldLayoutId id="2147484362" r:id="rId39"/>
    <p:sldLayoutId id="2147484363" r:id="rId40"/>
    <p:sldLayoutId id="2147484364" r:id="rId41"/>
    <p:sldLayoutId id="2147484365" r:id="rId42"/>
    <p:sldLayoutId id="2147484366" r:id="rId43"/>
    <p:sldLayoutId id="2147484367" r:id="rId44"/>
    <p:sldLayoutId id="2147483735" r:id="rId45"/>
    <p:sldLayoutId id="2147484557" r:id="rId46"/>
    <p:sldLayoutId id="2147484369" r:id="rId47"/>
    <p:sldLayoutId id="2147483741" r:id="rId48"/>
    <p:sldLayoutId id="2147484371" r:id="rId49"/>
    <p:sldLayoutId id="2147484372" r:id="rId50"/>
    <p:sldLayoutId id="2147484373" r:id="rId51"/>
    <p:sldLayoutId id="2147484374" r:id="rId52"/>
    <p:sldLayoutId id="2147484375" r:id="rId53"/>
    <p:sldLayoutId id="2147483736" r:id="rId54"/>
    <p:sldLayoutId id="2147484377" r:id="rId55"/>
    <p:sldLayoutId id="2147484378" r:id="rId56"/>
    <p:sldLayoutId id="2147484351" r:id="rId57"/>
    <p:sldLayoutId id="2147484350" r:id="rId58"/>
    <p:sldLayoutId id="2147484352" r:id="rId59"/>
    <p:sldLayoutId id="2147483764" r:id="rId60"/>
    <p:sldLayoutId id="2147483765" r:id="rId61"/>
    <p:sldLayoutId id="2147483766" r:id="rId62"/>
    <p:sldLayoutId id="2147483739" r:id="rId63"/>
    <p:sldLayoutId id="2147483771" r:id="rId64"/>
    <p:sldLayoutId id="2147483767" r:id="rId65"/>
    <p:sldLayoutId id="2147483761" r:id="rId66"/>
    <p:sldLayoutId id="2147483762" r:id="rId67"/>
    <p:sldLayoutId id="2147483763" r:id="rId68"/>
    <p:sldLayoutId id="2147484744" r:id="rId69"/>
    <p:sldLayoutId id="2147483768" r:id="rId70"/>
    <p:sldLayoutId id="2147485534" r:id="rId71"/>
    <p:sldLayoutId id="2147485535" r:id="rId72"/>
    <p:sldLayoutId id="2147483769" r:id="rId73"/>
    <p:sldLayoutId id="2147483770" r:id="rId74"/>
    <p:sldLayoutId id="2147484747" r:id="rId75"/>
    <p:sldLayoutId id="2147484757" r:id="rId76"/>
    <p:sldLayoutId id="2147484763" r:id="rId77"/>
    <p:sldLayoutId id="2147485489" r:id="rId78"/>
    <p:sldLayoutId id="2147485038" r:id="rId79"/>
    <p:sldLayoutId id="2147485490" r:id="rId80"/>
    <p:sldLayoutId id="2147485536" r:id="rId81"/>
    <p:sldLayoutId id="2147485491" r:id="rId82"/>
    <p:sldLayoutId id="2147485492" r:id="rId83"/>
    <p:sldLayoutId id="2147485493" r:id="rId84"/>
    <p:sldLayoutId id="2147485494" r:id="rId85"/>
    <p:sldLayoutId id="2147485495" r:id="rId86"/>
    <p:sldLayoutId id="2147485496" r:id="rId87"/>
    <p:sldLayoutId id="2147484454" r:id="rId88"/>
    <p:sldLayoutId id="2147483713" r:id="rId89"/>
    <p:sldLayoutId id="2147484231" r:id="rId90"/>
    <p:sldLayoutId id="2147484268" r:id="rId91"/>
    <p:sldLayoutId id="2147484235" r:id="rId92"/>
    <p:sldLayoutId id="2147484224" r:id="rId93"/>
    <p:sldLayoutId id="2147484245" r:id="rId94"/>
    <p:sldLayoutId id="2147484262" r:id="rId95"/>
    <p:sldLayoutId id="2147483719" r:id="rId96"/>
    <p:sldLayoutId id="2147483720" r:id="rId97"/>
    <p:sldLayoutId id="2147483721" r:id="rId98"/>
    <p:sldLayoutId id="2147484233" r:id="rId99"/>
    <p:sldLayoutId id="2147483710" r:id="rId100"/>
    <p:sldLayoutId id="2147483716" r:id="rId101"/>
    <p:sldLayoutId id="2147483723" r:id="rId102"/>
    <p:sldLayoutId id="2147484479" r:id="rId103"/>
    <p:sldLayoutId id="2147483717" r:id="rId104"/>
    <p:sldLayoutId id="2147483718" r:id="rId105"/>
    <p:sldLayoutId id="2147484400" r:id="rId106"/>
    <p:sldLayoutId id="2147484401" r:id="rId107"/>
    <p:sldLayoutId id="2147484402" r:id="rId108"/>
    <p:sldLayoutId id="2147483712" r:id="rId109"/>
    <p:sldLayoutId id="2147484464" r:id="rId110"/>
    <p:sldLayoutId id="2147484313" r:id="rId111"/>
    <p:sldLayoutId id="2147484315" r:id="rId112"/>
    <p:sldLayoutId id="2147483737" r:id="rId113"/>
    <p:sldLayoutId id="2147483772" r:id="rId114"/>
    <p:sldLayoutId id="2147483738" r:id="rId115"/>
    <p:sldLayoutId id="2147483742" r:id="rId116"/>
    <p:sldLayoutId id="2147483743" r:id="rId117"/>
    <p:sldLayoutId id="2147483744" r:id="rId118"/>
    <p:sldLayoutId id="2147483745" r:id="rId119"/>
    <p:sldLayoutId id="2147483746" r:id="rId120"/>
    <p:sldLayoutId id="2147483747" r:id="rId121"/>
    <p:sldLayoutId id="2147484475" r:id="rId122"/>
    <p:sldLayoutId id="2147483748" r:id="rId123"/>
    <p:sldLayoutId id="2147484335" r:id="rId124"/>
    <p:sldLayoutId id="2147484336" r:id="rId125"/>
    <p:sldLayoutId id="2147484337" r:id="rId126"/>
    <p:sldLayoutId id="2147483681" r:id="rId127"/>
    <p:sldLayoutId id="2147484338" r:id="rId128"/>
    <p:sldLayoutId id="2147484339" r:id="rId129"/>
    <p:sldLayoutId id="2147484340" r:id="rId130"/>
    <p:sldLayoutId id="2147484341" r:id="rId131"/>
    <p:sldLayoutId id="2147484342" r:id="rId132"/>
    <p:sldLayoutId id="2147484343" r:id="rId133"/>
    <p:sldLayoutId id="2147484344" r:id="rId134"/>
    <p:sldLayoutId id="2147484222" r:id="rId135"/>
    <p:sldLayoutId id="2147483703" r:id="rId136"/>
    <p:sldLayoutId id="2147484225" r:id="rId137"/>
    <p:sldLayoutId id="2147485558" r:id="rId138"/>
    <p:sldLayoutId id="2147483868" r:id="rId139"/>
    <p:sldLayoutId id="2147483676" r:id="rId140"/>
    <p:sldLayoutId id="2147483677" r:id="rId141"/>
    <p:sldLayoutId id="2147483678" r:id="rId142"/>
    <p:sldLayoutId id="2147483679" r:id="rId143"/>
    <p:sldLayoutId id="2147483813" r:id="rId144"/>
    <p:sldLayoutId id="2147483814" r:id="rId145"/>
    <p:sldLayoutId id="2147483815" r:id="rId146"/>
    <p:sldLayoutId id="2147483816" r:id="rId147"/>
    <p:sldLayoutId id="2147485409" r:id="rId148"/>
    <p:sldLayoutId id="2147485431" r:id="rId149"/>
    <p:sldLayoutId id="2147485432" r:id="rId150"/>
    <p:sldLayoutId id="2147485433" r:id="rId151"/>
    <p:sldLayoutId id="2147485434" r:id="rId152"/>
    <p:sldLayoutId id="2147484385" r:id="rId153"/>
    <p:sldLayoutId id="2147484386" r:id="rId154"/>
    <p:sldLayoutId id="2147484387" r:id="rId155"/>
    <p:sldLayoutId id="2147484388" r:id="rId156"/>
    <p:sldLayoutId id="2147484389" r:id="rId157"/>
    <p:sldLayoutId id="2147484329" r:id="rId158"/>
    <p:sldLayoutId id="2147484330" r:id="rId159"/>
    <p:sldLayoutId id="2147484331" r:id="rId160"/>
    <p:sldLayoutId id="2147484332" r:id="rId161"/>
    <p:sldLayoutId id="2147484485" r:id="rId162"/>
    <p:sldLayoutId id="2147484486" r:id="rId163"/>
    <p:sldLayoutId id="2147483879" r:id="rId164"/>
    <p:sldLayoutId id="2147484477" r:id="rId165"/>
    <p:sldLayoutId id="2147484478" r:id="rId166"/>
    <p:sldLayoutId id="2147484260" r:id="rId167"/>
    <p:sldLayoutId id="2147484226" r:id="rId168"/>
    <p:sldLayoutId id="2147484480" r:id="rId169"/>
    <p:sldLayoutId id="2147484267" r:id="rId170"/>
    <p:sldLayoutId id="2147484481" r:id="rId171"/>
    <p:sldLayoutId id="2147484482" r:id="rId172"/>
    <p:sldLayoutId id="2147484483" r:id="rId173"/>
    <p:sldLayoutId id="2147484484" r:id="rId174"/>
    <p:sldLayoutId id="2147485557" r:id="rId175"/>
    <p:sldLayoutId id="2147484608" r:id="rId176"/>
    <p:sldLayoutId id="2147485428" r:id="rId177"/>
    <p:sldLayoutId id="2147485429" r:id="rId178"/>
    <p:sldLayoutId id="2147485179" r:id="rId179"/>
    <p:sldLayoutId id="2147485539" r:id="rId180"/>
    <p:sldLayoutId id="2147483675" r:id="rId181"/>
    <p:sldLayoutId id="2147485555" r:id="rId182"/>
    <p:sldLayoutId id="2147485556" r:id="rId183"/>
    <p:sldLayoutId id="2147483792" r:id="rId184"/>
    <p:sldLayoutId id="2147483793" r:id="rId185"/>
    <p:sldLayoutId id="2147483794" r:id="rId186"/>
    <p:sldLayoutId id="2147485540" r:id="rId187"/>
    <p:sldLayoutId id="2147485072" r:id="rId188"/>
    <p:sldLayoutId id="2147484227" r:id="rId189"/>
    <p:sldLayoutId id="2147483796" r:id="rId190"/>
    <p:sldLayoutId id="2147483797" r:id="rId191"/>
    <p:sldLayoutId id="2147483798" r:id="rId192"/>
    <p:sldLayoutId id="2147483799" r:id="rId193"/>
    <p:sldLayoutId id="2147483800" r:id="rId194"/>
    <p:sldLayoutId id="2147483801" r:id="rId195"/>
    <p:sldLayoutId id="2147483877" r:id="rId196"/>
    <p:sldLayoutId id="2147483878" r:id="rId197"/>
    <p:sldLayoutId id="2147483752" r:id="rId198"/>
    <p:sldLayoutId id="2147483773" r:id="rId199"/>
    <p:sldLayoutId id="2147483774" r:id="rId200"/>
    <p:sldLayoutId id="2147484349" r:id="rId201"/>
    <p:sldLayoutId id="2147484764" r:id="rId202"/>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Slide Number Placeholder 5"/>
          <p:cNvSpPr>
            <a:spLocks noGrp="1"/>
          </p:cNvSpPr>
          <p:nvPr>
            <p:ph type="sldNum" sz="quarter" idx="4"/>
          </p:nvPr>
        </p:nvSpPr>
        <p:spPr>
          <a:xfrm>
            <a:off x="0" y="6423197"/>
            <a:ext cx="776659" cy="365125"/>
          </a:xfrm>
          <a:prstGeom prst="rect">
            <a:avLst/>
          </a:prstGeom>
        </p:spPr>
        <p:txBody>
          <a:bodyPr vert="horz" lIns="91440" tIns="45720" rIns="91440" bIns="45720" rtlCol="0" anchor="ctr"/>
          <a:lstStyle>
            <a:lvl1pPr algn="ctr">
              <a:defRPr sz="1100">
                <a:solidFill>
                  <a:schemeClr val="bg1"/>
                </a:solidFill>
              </a:defRPr>
            </a:lvl1pPr>
          </a:lstStyle>
          <a:p>
            <a:fld id="{B2C1BE1D-F557-C442-9DA9-8F06AF7B7A69}" type="slidenum">
              <a:rPr lang="en-US" smtClean="0"/>
              <a:pPr/>
              <a:t>‹#›</a:t>
            </a:fld>
            <a:endParaRPr lang="en-US"/>
          </a:p>
        </p:txBody>
      </p:sp>
    </p:spTree>
    <p:extLst>
      <p:ext uri="{BB962C8B-B14F-4D97-AF65-F5344CB8AC3E}">
        <p14:creationId xmlns:p14="http://schemas.microsoft.com/office/powerpoint/2010/main" val="76685000"/>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4758" r:id="rId6"/>
    <p:sldLayoutId id="2147484759" r:id="rId7"/>
    <p:sldLayoutId id="2147484760" r:id="rId8"/>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Slide Number Placeholder 5"/>
          <p:cNvSpPr>
            <a:spLocks noGrp="1"/>
          </p:cNvSpPr>
          <p:nvPr>
            <p:ph type="sldNum" sz="quarter" idx="4"/>
          </p:nvPr>
        </p:nvSpPr>
        <p:spPr>
          <a:xfrm>
            <a:off x="11378793" y="6423197"/>
            <a:ext cx="776659" cy="365125"/>
          </a:xfrm>
          <a:prstGeom prst="rect">
            <a:avLst/>
          </a:prstGeom>
        </p:spPr>
        <p:txBody>
          <a:bodyPr vert="horz" lIns="91440" tIns="45720" rIns="91440" bIns="45720" rtlCol="0" anchor="ctr"/>
          <a:lstStyle>
            <a:lvl1pPr algn="ctr">
              <a:defRPr sz="1100">
                <a:solidFill>
                  <a:srgbClr val="59261D"/>
                </a:solidFill>
              </a:defRPr>
            </a:lvl1pPr>
          </a:lstStyle>
          <a:p>
            <a:fld id="{B2C1BE1D-F557-C442-9DA9-8F06AF7B7A69}" type="slidenum">
              <a:rPr lang="en-US" smtClean="0"/>
              <a:pPr/>
              <a:t>‹#›</a:t>
            </a:fld>
            <a:endParaRPr lang="en-US"/>
          </a:p>
        </p:txBody>
      </p:sp>
    </p:spTree>
    <p:extLst>
      <p:ext uri="{BB962C8B-B14F-4D97-AF65-F5344CB8AC3E}">
        <p14:creationId xmlns:p14="http://schemas.microsoft.com/office/powerpoint/2010/main" val="23543777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CD78B65-C90A-4690-9DA6-0CB6C4356BBB}"/>
              </a:ext>
            </a:extLst>
          </p:cNvPr>
          <p:cNvSpPr/>
          <p:nvPr userDrawn="1"/>
        </p:nvSpPr>
        <p:spPr bwMode="auto">
          <a:xfrm>
            <a:off x="105833" y="63500"/>
            <a:ext cx="10414000" cy="1111250"/>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472"/>
          </a:p>
        </p:txBody>
      </p:sp>
      <p:pic>
        <p:nvPicPr>
          <p:cNvPr id="6" name="Picture 5" descr="AAH_Vertical_4C.eps">
            <a:extLst>
              <a:ext uri="{FF2B5EF4-FFF2-40B4-BE49-F238E27FC236}">
                <a16:creationId xmlns:a16="http://schemas.microsoft.com/office/drawing/2014/main" id="{CE620CCF-4CCB-4CE1-A2CE-6D7EE7C92FD3}"/>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0678034" y="104775"/>
            <a:ext cx="1408133" cy="990600"/>
          </a:xfrm>
          <a:prstGeom prst="rect">
            <a:avLst/>
          </a:prstGeom>
        </p:spPr>
      </p:pic>
    </p:spTree>
  </p:cSld>
  <p:clrMap bg1="lt1" tx1="dk1" bg2="lt2" tx2="dk2" accent1="accent1" accent2="accent2" accent3="accent3" accent4="accent4" accent5="accent5" accent6="accent6" hlink="hlink" folHlink="folHlink"/>
  <p:sldLayoutIdLst>
    <p:sldLayoutId id="2147484718" r:id="rId1"/>
    <p:sldLayoutId id="2147484719" r:id="rId2"/>
    <p:sldLayoutId id="2147484720" r:id="rId3"/>
    <p:sldLayoutId id="2147484721" r:id="rId4"/>
    <p:sldLayoutId id="2147484722" r:id="rId5"/>
    <p:sldLayoutId id="2147484723" r:id="rId6"/>
    <p:sldLayoutId id="2147484724" r:id="rId7"/>
    <p:sldLayoutId id="2147484725" r:id="rId8"/>
    <p:sldLayoutId id="2147484726" r:id="rId9"/>
    <p:sldLayoutId id="2147484727" r:id="rId10"/>
    <p:sldLayoutId id="2147484728" r:id="rId11"/>
  </p:sldLayoutIdLst>
  <p:txStyles>
    <p:titleStyle>
      <a:lvl1pPr algn="l" rtl="0" eaLnBrk="0" fontAlgn="base" hangingPunct="0">
        <a:lnSpc>
          <a:spcPct val="90000"/>
        </a:lnSpc>
        <a:spcBef>
          <a:spcPct val="0"/>
        </a:spcBef>
        <a:spcAft>
          <a:spcPct val="0"/>
        </a:spcAft>
        <a:defRPr sz="1087" kern="1200">
          <a:solidFill>
            <a:schemeClr val="tx1"/>
          </a:solidFill>
          <a:latin typeface="+mj-lt"/>
          <a:ea typeface="MS PGothic" panose="020B0600070205080204" pitchFamily="34" charset="-128"/>
          <a:cs typeface="MS PGothic" panose="020B0600070205080204" pitchFamily="34" charset="-128"/>
        </a:defRPr>
      </a:lvl1pPr>
      <a:lvl2pPr algn="l" rtl="0" eaLnBrk="0" fontAlgn="base" hangingPunct="0">
        <a:lnSpc>
          <a:spcPct val="90000"/>
        </a:lnSpc>
        <a:spcBef>
          <a:spcPct val="0"/>
        </a:spcBef>
        <a:spcAft>
          <a:spcPct val="0"/>
        </a:spcAft>
        <a:defRPr sz="1087">
          <a:solidFill>
            <a:schemeClr val="tx1"/>
          </a:solidFill>
          <a:latin typeface="Calibri Light" panose="020F0302020204030204" pitchFamily="34" charset="0"/>
          <a:ea typeface="MS PGothic" panose="020B0600070205080204" pitchFamily="34" charset="-128"/>
          <a:cs typeface="MS PGothic" panose="020B0600070205080204" pitchFamily="34" charset="-128"/>
        </a:defRPr>
      </a:lvl2pPr>
      <a:lvl3pPr algn="l" rtl="0" eaLnBrk="0" fontAlgn="base" hangingPunct="0">
        <a:lnSpc>
          <a:spcPct val="90000"/>
        </a:lnSpc>
        <a:spcBef>
          <a:spcPct val="0"/>
        </a:spcBef>
        <a:spcAft>
          <a:spcPct val="0"/>
        </a:spcAft>
        <a:defRPr sz="1087">
          <a:solidFill>
            <a:schemeClr val="tx1"/>
          </a:solidFill>
          <a:latin typeface="Calibri Light" panose="020F0302020204030204" pitchFamily="34" charset="0"/>
          <a:ea typeface="MS PGothic" panose="020B0600070205080204" pitchFamily="34" charset="-128"/>
          <a:cs typeface="MS PGothic" panose="020B0600070205080204" pitchFamily="34" charset="-128"/>
        </a:defRPr>
      </a:lvl3pPr>
      <a:lvl4pPr algn="l" rtl="0" eaLnBrk="0" fontAlgn="base" hangingPunct="0">
        <a:lnSpc>
          <a:spcPct val="90000"/>
        </a:lnSpc>
        <a:spcBef>
          <a:spcPct val="0"/>
        </a:spcBef>
        <a:spcAft>
          <a:spcPct val="0"/>
        </a:spcAft>
        <a:defRPr sz="1087">
          <a:solidFill>
            <a:schemeClr val="tx1"/>
          </a:solidFill>
          <a:latin typeface="Calibri Light" panose="020F0302020204030204" pitchFamily="34" charset="0"/>
          <a:ea typeface="MS PGothic" panose="020B0600070205080204" pitchFamily="34" charset="-128"/>
          <a:cs typeface="MS PGothic" panose="020B0600070205080204" pitchFamily="34" charset="-128"/>
        </a:defRPr>
      </a:lvl4pPr>
      <a:lvl5pPr algn="l" rtl="0" eaLnBrk="0" fontAlgn="base" hangingPunct="0">
        <a:lnSpc>
          <a:spcPct val="90000"/>
        </a:lnSpc>
        <a:spcBef>
          <a:spcPct val="0"/>
        </a:spcBef>
        <a:spcAft>
          <a:spcPct val="0"/>
        </a:spcAft>
        <a:defRPr sz="1087">
          <a:solidFill>
            <a:schemeClr val="tx1"/>
          </a:solidFill>
          <a:latin typeface="Calibri Light" panose="020F0302020204030204" pitchFamily="34" charset="0"/>
          <a:ea typeface="MS PGothic" panose="020B0600070205080204" pitchFamily="34" charset="-128"/>
          <a:cs typeface="MS PGothic" panose="020B0600070205080204" pitchFamily="34" charset="-128"/>
        </a:defRPr>
      </a:lvl5pPr>
      <a:lvl6pPr marL="112901" algn="l" rtl="0" fontAlgn="base">
        <a:lnSpc>
          <a:spcPct val="90000"/>
        </a:lnSpc>
        <a:spcBef>
          <a:spcPct val="0"/>
        </a:spcBef>
        <a:spcAft>
          <a:spcPct val="0"/>
        </a:spcAft>
        <a:defRPr sz="1087">
          <a:solidFill>
            <a:schemeClr val="tx1"/>
          </a:solidFill>
          <a:latin typeface="Calibri Light" panose="020F0302020204030204" pitchFamily="34" charset="0"/>
        </a:defRPr>
      </a:lvl6pPr>
      <a:lvl7pPr marL="225802" algn="l" rtl="0" fontAlgn="base">
        <a:lnSpc>
          <a:spcPct val="90000"/>
        </a:lnSpc>
        <a:spcBef>
          <a:spcPct val="0"/>
        </a:spcBef>
        <a:spcAft>
          <a:spcPct val="0"/>
        </a:spcAft>
        <a:defRPr sz="1087">
          <a:solidFill>
            <a:schemeClr val="tx1"/>
          </a:solidFill>
          <a:latin typeface="Calibri Light" panose="020F0302020204030204" pitchFamily="34" charset="0"/>
        </a:defRPr>
      </a:lvl7pPr>
      <a:lvl8pPr marL="338702" algn="l" rtl="0" fontAlgn="base">
        <a:lnSpc>
          <a:spcPct val="90000"/>
        </a:lnSpc>
        <a:spcBef>
          <a:spcPct val="0"/>
        </a:spcBef>
        <a:spcAft>
          <a:spcPct val="0"/>
        </a:spcAft>
        <a:defRPr sz="1087">
          <a:solidFill>
            <a:schemeClr val="tx1"/>
          </a:solidFill>
          <a:latin typeface="Calibri Light" panose="020F0302020204030204" pitchFamily="34" charset="0"/>
        </a:defRPr>
      </a:lvl8pPr>
      <a:lvl9pPr marL="451603" algn="l" rtl="0" fontAlgn="base">
        <a:lnSpc>
          <a:spcPct val="90000"/>
        </a:lnSpc>
        <a:spcBef>
          <a:spcPct val="0"/>
        </a:spcBef>
        <a:spcAft>
          <a:spcPct val="0"/>
        </a:spcAft>
        <a:defRPr sz="1087">
          <a:solidFill>
            <a:schemeClr val="tx1"/>
          </a:solidFill>
          <a:latin typeface="Calibri Light" panose="020F0302020204030204" pitchFamily="34" charset="0"/>
        </a:defRPr>
      </a:lvl9pPr>
    </p:titleStyle>
    <p:bodyStyle>
      <a:lvl1pPr marL="56450" indent="-56450" algn="l" rtl="0" eaLnBrk="0" fontAlgn="base" hangingPunct="0">
        <a:lnSpc>
          <a:spcPct val="90000"/>
        </a:lnSpc>
        <a:spcBef>
          <a:spcPts val="247"/>
        </a:spcBef>
        <a:spcAft>
          <a:spcPct val="0"/>
        </a:spcAft>
        <a:buFont typeface="Arial" panose="020B0604020202020204" pitchFamily="34" charset="0"/>
        <a:buChar char="•"/>
        <a:defRPr sz="691" kern="1200">
          <a:solidFill>
            <a:schemeClr val="tx1"/>
          </a:solidFill>
          <a:latin typeface="+mn-lt"/>
          <a:ea typeface="MS PGothic" panose="020B0600070205080204" pitchFamily="34" charset="-128"/>
          <a:cs typeface="MS PGothic" panose="020B0600070205080204" pitchFamily="34" charset="-128"/>
        </a:defRPr>
      </a:lvl1pPr>
      <a:lvl2pPr marL="169351" indent="-56450" algn="l" rtl="0" eaLnBrk="0" fontAlgn="base" hangingPunct="0">
        <a:lnSpc>
          <a:spcPct val="90000"/>
        </a:lnSpc>
        <a:spcBef>
          <a:spcPts val="124"/>
        </a:spcBef>
        <a:spcAft>
          <a:spcPct val="0"/>
        </a:spcAft>
        <a:buFont typeface="Arial" panose="020B0604020202020204" pitchFamily="34" charset="0"/>
        <a:buChar char="•"/>
        <a:defRPr sz="593" kern="1200">
          <a:solidFill>
            <a:schemeClr val="tx1"/>
          </a:solidFill>
          <a:latin typeface="+mn-lt"/>
          <a:ea typeface="MS PGothic" panose="020B0600070205080204" pitchFamily="34" charset="-128"/>
          <a:cs typeface="+mn-cs"/>
        </a:defRPr>
      </a:lvl2pPr>
      <a:lvl3pPr marL="282252" indent="-56450" algn="l" rtl="0" eaLnBrk="0" fontAlgn="base" hangingPunct="0">
        <a:lnSpc>
          <a:spcPct val="90000"/>
        </a:lnSpc>
        <a:spcBef>
          <a:spcPts val="124"/>
        </a:spcBef>
        <a:spcAft>
          <a:spcPct val="0"/>
        </a:spcAft>
        <a:buFont typeface="Arial" panose="020B0604020202020204" pitchFamily="34" charset="0"/>
        <a:buChar char="•"/>
        <a:defRPr sz="494" kern="1200">
          <a:solidFill>
            <a:schemeClr val="tx1"/>
          </a:solidFill>
          <a:latin typeface="+mn-lt"/>
          <a:ea typeface="MS PGothic" panose="020B0600070205080204" pitchFamily="34" charset="-128"/>
          <a:cs typeface="+mn-cs"/>
        </a:defRPr>
      </a:lvl3pPr>
      <a:lvl4pPr marL="395153" indent="-56450" algn="l" rtl="0" eaLnBrk="0" fontAlgn="base" hangingPunct="0">
        <a:lnSpc>
          <a:spcPct val="90000"/>
        </a:lnSpc>
        <a:spcBef>
          <a:spcPts val="124"/>
        </a:spcBef>
        <a:spcAft>
          <a:spcPct val="0"/>
        </a:spcAft>
        <a:buFont typeface="Arial" panose="020B0604020202020204" pitchFamily="34" charset="0"/>
        <a:buChar char="•"/>
        <a:defRPr kern="1200">
          <a:solidFill>
            <a:schemeClr val="tx1"/>
          </a:solidFill>
          <a:latin typeface="+mn-lt"/>
          <a:ea typeface="MS PGothic" panose="020B0600070205080204" pitchFamily="34" charset="-128"/>
          <a:cs typeface="+mn-cs"/>
        </a:defRPr>
      </a:lvl4pPr>
      <a:lvl5pPr marL="508053" indent="-56450" algn="l" rtl="0" eaLnBrk="0" fontAlgn="base" hangingPunct="0">
        <a:lnSpc>
          <a:spcPct val="90000"/>
        </a:lnSpc>
        <a:spcBef>
          <a:spcPts val="124"/>
        </a:spcBef>
        <a:spcAft>
          <a:spcPct val="0"/>
        </a:spcAft>
        <a:buFont typeface="Arial" panose="020B0604020202020204" pitchFamily="34" charset="0"/>
        <a:buChar char="•"/>
        <a:defRPr kern="1200">
          <a:solidFill>
            <a:schemeClr val="tx1"/>
          </a:solidFill>
          <a:latin typeface="+mn-lt"/>
          <a:ea typeface="MS PGothic" panose="020B0600070205080204" pitchFamily="34" charset="-128"/>
          <a:cs typeface="+mn-cs"/>
        </a:defRPr>
      </a:lvl5pPr>
      <a:lvl6pPr marL="620954" indent="-56450" algn="l" defTabSz="225802" rtl="0" eaLnBrk="1" latinLnBrk="0" hangingPunct="1">
        <a:lnSpc>
          <a:spcPct val="90000"/>
        </a:lnSpc>
        <a:spcBef>
          <a:spcPts val="124"/>
        </a:spcBef>
        <a:buFont typeface="Arial" panose="020B0604020202020204" pitchFamily="34" charset="0"/>
        <a:buChar char="•"/>
        <a:defRPr sz="444" kern="1200">
          <a:solidFill>
            <a:schemeClr val="tx1"/>
          </a:solidFill>
          <a:latin typeface="+mn-lt"/>
          <a:ea typeface="+mn-ea"/>
          <a:cs typeface="+mn-cs"/>
        </a:defRPr>
      </a:lvl6pPr>
      <a:lvl7pPr marL="733855" indent="-56450" algn="l" defTabSz="225802" rtl="0" eaLnBrk="1" latinLnBrk="0" hangingPunct="1">
        <a:lnSpc>
          <a:spcPct val="90000"/>
        </a:lnSpc>
        <a:spcBef>
          <a:spcPts val="124"/>
        </a:spcBef>
        <a:buFont typeface="Arial" panose="020B0604020202020204" pitchFamily="34" charset="0"/>
        <a:buChar char="•"/>
        <a:defRPr sz="444" kern="1200">
          <a:solidFill>
            <a:schemeClr val="tx1"/>
          </a:solidFill>
          <a:latin typeface="+mn-lt"/>
          <a:ea typeface="+mn-ea"/>
          <a:cs typeface="+mn-cs"/>
        </a:defRPr>
      </a:lvl7pPr>
      <a:lvl8pPr marL="846756" indent="-56450" algn="l" defTabSz="225802" rtl="0" eaLnBrk="1" latinLnBrk="0" hangingPunct="1">
        <a:lnSpc>
          <a:spcPct val="90000"/>
        </a:lnSpc>
        <a:spcBef>
          <a:spcPts val="124"/>
        </a:spcBef>
        <a:buFont typeface="Arial" panose="020B0604020202020204" pitchFamily="34" charset="0"/>
        <a:buChar char="•"/>
        <a:defRPr sz="444" kern="1200">
          <a:solidFill>
            <a:schemeClr val="tx1"/>
          </a:solidFill>
          <a:latin typeface="+mn-lt"/>
          <a:ea typeface="+mn-ea"/>
          <a:cs typeface="+mn-cs"/>
        </a:defRPr>
      </a:lvl8pPr>
      <a:lvl9pPr marL="959656" indent="-56450" algn="l" defTabSz="225802" rtl="0" eaLnBrk="1" latinLnBrk="0" hangingPunct="1">
        <a:lnSpc>
          <a:spcPct val="90000"/>
        </a:lnSpc>
        <a:spcBef>
          <a:spcPts val="124"/>
        </a:spcBef>
        <a:buFont typeface="Arial" panose="020B0604020202020204" pitchFamily="34" charset="0"/>
        <a:buChar char="•"/>
        <a:defRPr sz="444" kern="1200">
          <a:solidFill>
            <a:schemeClr val="tx1"/>
          </a:solidFill>
          <a:latin typeface="+mn-lt"/>
          <a:ea typeface="+mn-ea"/>
          <a:cs typeface="+mn-cs"/>
        </a:defRPr>
      </a:lvl9pPr>
    </p:bodyStyle>
    <p:otherStyle>
      <a:defPPr>
        <a:defRPr lang="en-US"/>
      </a:defPPr>
      <a:lvl1pPr marL="0" algn="l" defTabSz="225802" rtl="0" eaLnBrk="1" latinLnBrk="0" hangingPunct="1">
        <a:defRPr sz="444" kern="1200">
          <a:solidFill>
            <a:schemeClr val="tx1"/>
          </a:solidFill>
          <a:latin typeface="+mn-lt"/>
          <a:ea typeface="+mn-ea"/>
          <a:cs typeface="+mn-cs"/>
        </a:defRPr>
      </a:lvl1pPr>
      <a:lvl2pPr marL="112901" algn="l" defTabSz="225802" rtl="0" eaLnBrk="1" latinLnBrk="0" hangingPunct="1">
        <a:defRPr sz="444" kern="1200">
          <a:solidFill>
            <a:schemeClr val="tx1"/>
          </a:solidFill>
          <a:latin typeface="+mn-lt"/>
          <a:ea typeface="+mn-ea"/>
          <a:cs typeface="+mn-cs"/>
        </a:defRPr>
      </a:lvl2pPr>
      <a:lvl3pPr marL="225802" algn="l" defTabSz="225802" rtl="0" eaLnBrk="1" latinLnBrk="0" hangingPunct="1">
        <a:defRPr sz="444" kern="1200">
          <a:solidFill>
            <a:schemeClr val="tx1"/>
          </a:solidFill>
          <a:latin typeface="+mn-lt"/>
          <a:ea typeface="+mn-ea"/>
          <a:cs typeface="+mn-cs"/>
        </a:defRPr>
      </a:lvl3pPr>
      <a:lvl4pPr marL="338702" algn="l" defTabSz="225802" rtl="0" eaLnBrk="1" latinLnBrk="0" hangingPunct="1">
        <a:defRPr sz="444" kern="1200">
          <a:solidFill>
            <a:schemeClr val="tx1"/>
          </a:solidFill>
          <a:latin typeface="+mn-lt"/>
          <a:ea typeface="+mn-ea"/>
          <a:cs typeface="+mn-cs"/>
        </a:defRPr>
      </a:lvl4pPr>
      <a:lvl5pPr marL="451603" algn="l" defTabSz="225802" rtl="0" eaLnBrk="1" latinLnBrk="0" hangingPunct="1">
        <a:defRPr sz="444" kern="1200">
          <a:solidFill>
            <a:schemeClr val="tx1"/>
          </a:solidFill>
          <a:latin typeface="+mn-lt"/>
          <a:ea typeface="+mn-ea"/>
          <a:cs typeface="+mn-cs"/>
        </a:defRPr>
      </a:lvl5pPr>
      <a:lvl6pPr marL="564504" algn="l" defTabSz="225802" rtl="0" eaLnBrk="1" latinLnBrk="0" hangingPunct="1">
        <a:defRPr sz="444" kern="1200">
          <a:solidFill>
            <a:schemeClr val="tx1"/>
          </a:solidFill>
          <a:latin typeface="+mn-lt"/>
          <a:ea typeface="+mn-ea"/>
          <a:cs typeface="+mn-cs"/>
        </a:defRPr>
      </a:lvl6pPr>
      <a:lvl7pPr marL="677404" algn="l" defTabSz="225802" rtl="0" eaLnBrk="1" latinLnBrk="0" hangingPunct="1">
        <a:defRPr sz="444" kern="1200">
          <a:solidFill>
            <a:schemeClr val="tx1"/>
          </a:solidFill>
          <a:latin typeface="+mn-lt"/>
          <a:ea typeface="+mn-ea"/>
          <a:cs typeface="+mn-cs"/>
        </a:defRPr>
      </a:lvl7pPr>
      <a:lvl8pPr marL="790305" algn="l" defTabSz="225802" rtl="0" eaLnBrk="1" latinLnBrk="0" hangingPunct="1">
        <a:defRPr sz="444" kern="1200">
          <a:solidFill>
            <a:schemeClr val="tx1"/>
          </a:solidFill>
          <a:latin typeface="+mn-lt"/>
          <a:ea typeface="+mn-ea"/>
          <a:cs typeface="+mn-cs"/>
        </a:defRPr>
      </a:lvl8pPr>
      <a:lvl9pPr marL="903206" algn="l" defTabSz="225802" rtl="0" eaLnBrk="1" latinLnBrk="0" hangingPunct="1">
        <a:defRPr sz="444"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58952" y="1216152"/>
            <a:ext cx="10671048" cy="768096"/>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758952" y="2103120"/>
            <a:ext cx="10671048"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621792" y="457200"/>
            <a:ext cx="3200400" cy="274320"/>
          </a:xfrm>
          <a:prstGeom prst="rect">
            <a:avLst/>
          </a:prstGeom>
        </p:spPr>
        <p:txBody>
          <a:bodyPr vert="horz" lIns="91440" tIns="45720" rIns="91440" bIns="45720" rtlCol="0" anchor="ctr"/>
          <a:lstStyle>
            <a:lvl1pPr algn="l">
              <a:defRPr sz="1200">
                <a:solidFill>
                  <a:schemeClr val="accent6"/>
                </a:solidFill>
                <a:latin typeface="Arial" panose="020B0604020202020204" pitchFamily="34" charset="0"/>
                <a:cs typeface="Arial" panose="020B0604020202020204" pitchFamily="34" charset="0"/>
              </a:defRPr>
            </a:lvl1pPr>
          </a:lstStyle>
          <a:p>
            <a:r>
              <a:rPr lang="en-US"/>
              <a:t>Presentation title</a:t>
            </a:r>
            <a:endParaRPr lang="en-US" dirty="0"/>
          </a:p>
        </p:txBody>
      </p:sp>
      <p:sp>
        <p:nvSpPr>
          <p:cNvPr id="6" name="Slide Number Placeholder 5"/>
          <p:cNvSpPr>
            <a:spLocks noGrp="1"/>
          </p:cNvSpPr>
          <p:nvPr>
            <p:ph type="sldNum" sz="quarter" idx="4"/>
          </p:nvPr>
        </p:nvSpPr>
        <p:spPr>
          <a:xfrm>
            <a:off x="10945368" y="457200"/>
            <a:ext cx="987552" cy="274320"/>
          </a:xfrm>
          <a:prstGeom prst="rect">
            <a:avLst/>
          </a:prstGeom>
        </p:spPr>
        <p:txBody>
          <a:bodyPr vert="horz" lIns="91440" tIns="45720" rIns="91440" bIns="45720" rtlCol="0" anchor="ctr"/>
          <a:lstStyle>
            <a:lvl1pPr algn="ctr">
              <a:defRPr sz="1200">
                <a:solidFill>
                  <a:schemeClr val="accent6"/>
                </a:solidFill>
                <a:latin typeface="Arial" panose="020B0604020202020204" pitchFamily="34" charset="0"/>
                <a:cs typeface="Arial" panose="020B0604020202020204" pitchFamily="34" charset="0"/>
              </a:defRPr>
            </a:lvl1pPr>
          </a:lstStyle>
          <a:p>
            <a:fld id="{48F63A3B-78C7-47BE-AE5E-E10140E04643}" type="slidenum">
              <a:rPr lang="en-US" smtClean="0"/>
              <a:pPr/>
              <a:t>‹#›</a:t>
            </a:fld>
            <a:endParaRPr lang="en-US" dirty="0"/>
          </a:p>
        </p:txBody>
      </p:sp>
    </p:spTree>
    <p:extLst>
      <p:ext uri="{BB962C8B-B14F-4D97-AF65-F5344CB8AC3E}">
        <p14:creationId xmlns:p14="http://schemas.microsoft.com/office/powerpoint/2010/main" val="2570292946"/>
      </p:ext>
    </p:extLst>
  </p:cSld>
  <p:clrMap bg1="lt1" tx1="dk1" bg2="lt2" tx2="dk2" accent1="accent1" accent2="accent2" accent3="accent3" accent4="accent4" accent5="accent5" accent6="accent6" hlink="hlink" folHlink="folHlink"/>
  <p:sldLayoutIdLst>
    <p:sldLayoutId id="2147485560" r:id="rId1"/>
    <p:sldLayoutId id="2147485561" r:id="rId2"/>
    <p:sldLayoutId id="2147485562" r:id="rId3"/>
    <p:sldLayoutId id="2147485563" r:id="rId4"/>
    <p:sldLayoutId id="2147485564" r:id="rId5"/>
    <p:sldLayoutId id="2147485565" r:id="rId6"/>
    <p:sldLayoutId id="2147485566" r:id="rId7"/>
    <p:sldLayoutId id="2147485567" r:id="rId8"/>
    <p:sldLayoutId id="2147485568" r:id="rId9"/>
    <p:sldLayoutId id="2147485569" r:id="rId10"/>
    <p:sldLayoutId id="2147485570" r:id="rId11"/>
    <p:sldLayoutId id="2147485571" r:id="rId12"/>
    <p:sldLayoutId id="2147485572" r:id="rId13"/>
    <p:sldLayoutId id="2147485573" r:id="rId14"/>
    <p:sldLayoutId id="2147485574" r:id="rId15"/>
    <p:sldLayoutId id="2147485575" r:id="rId16"/>
    <p:sldLayoutId id="2147485576" r:id="rId17"/>
    <p:sldLayoutId id="2147485577" r:id="rId18"/>
    <p:sldLayoutId id="2147485578" r:id="rId19"/>
    <p:sldLayoutId id="2147485579" r:id="rId20"/>
  </p:sldLayoutIdLst>
  <p:hf hdr="0" dt="0"/>
  <p:txStyles>
    <p:titleStyle>
      <a:lvl1pPr algn="ctr" defTabSz="914400" rtl="0" eaLnBrk="1" latinLnBrk="0" hangingPunct="1">
        <a:lnSpc>
          <a:spcPts val="4875"/>
        </a:lnSpc>
        <a:spcBef>
          <a:spcPct val="0"/>
        </a:spcBef>
        <a:buNone/>
        <a:defRPr sz="4400" b="1" kern="1200" cap="all" baseline="0">
          <a:solidFill>
            <a:schemeClr val="accent6"/>
          </a:solidFill>
          <a:latin typeface="+mj-lt"/>
          <a:ea typeface="+mj-ea"/>
          <a:cs typeface="+mj-cs"/>
        </a:defRPr>
      </a:lvl1pPr>
    </p:titleStyle>
    <p:bodyStyle>
      <a:lvl1pPr marL="347472" indent="-347472" algn="l" defTabSz="914400" rtl="0" eaLnBrk="1" latinLnBrk="0" hangingPunct="1">
        <a:lnSpc>
          <a:spcPct val="100000"/>
        </a:lnSpc>
        <a:spcBef>
          <a:spcPts val="360"/>
        </a:spcBef>
        <a:buFont typeface="Arial" panose="020B0604020202020204" pitchFamily="34" charset="0"/>
        <a:buChar char="•"/>
        <a:defRPr sz="2800" kern="1200">
          <a:solidFill>
            <a:schemeClr val="accent6"/>
          </a:solidFill>
          <a:latin typeface="+mn-lt"/>
          <a:ea typeface="+mn-ea"/>
          <a:cs typeface="+mn-cs"/>
        </a:defRPr>
      </a:lvl1pPr>
      <a:lvl2pPr marL="685800" indent="-347472" algn="l" defTabSz="914400" rtl="0" eaLnBrk="1" latinLnBrk="0" hangingPunct="1">
        <a:lnSpc>
          <a:spcPct val="100000"/>
        </a:lnSpc>
        <a:spcBef>
          <a:spcPts val="360"/>
        </a:spcBef>
        <a:buFont typeface="Arial" panose="020B0604020202020204" pitchFamily="34" charset="0"/>
        <a:buChar char="•"/>
        <a:defRPr sz="2400" kern="1200">
          <a:solidFill>
            <a:schemeClr val="accent6"/>
          </a:solidFill>
          <a:latin typeface="+mn-lt"/>
          <a:ea typeface="+mn-ea"/>
          <a:cs typeface="+mn-cs"/>
        </a:defRPr>
      </a:lvl2pPr>
      <a:lvl3pPr marL="1143000" indent="-347472" algn="l" defTabSz="914400" rtl="0" eaLnBrk="1" latinLnBrk="0" hangingPunct="1">
        <a:lnSpc>
          <a:spcPct val="100000"/>
        </a:lnSpc>
        <a:spcBef>
          <a:spcPts val="360"/>
        </a:spcBef>
        <a:buFont typeface="Arial" panose="020B0604020202020204" pitchFamily="34" charset="0"/>
        <a:buChar char="•"/>
        <a:defRPr sz="2000" kern="1200">
          <a:solidFill>
            <a:schemeClr val="accent6"/>
          </a:solidFill>
          <a:latin typeface="+mn-lt"/>
          <a:ea typeface="+mn-ea"/>
          <a:cs typeface="+mn-cs"/>
        </a:defRPr>
      </a:lvl3pPr>
      <a:lvl4pPr marL="1600200" indent="-347472" algn="l" defTabSz="914400" rtl="0" eaLnBrk="1" latinLnBrk="0" hangingPunct="1">
        <a:lnSpc>
          <a:spcPct val="100000"/>
        </a:lnSpc>
        <a:spcBef>
          <a:spcPts val="360"/>
        </a:spcBef>
        <a:buFont typeface="Arial" panose="020B0604020202020204" pitchFamily="34" charset="0"/>
        <a:buChar char="•"/>
        <a:defRPr sz="1800" kern="1200">
          <a:solidFill>
            <a:schemeClr val="accent6"/>
          </a:solidFill>
          <a:latin typeface="+mn-lt"/>
          <a:ea typeface="+mn-ea"/>
          <a:cs typeface="+mn-cs"/>
        </a:defRPr>
      </a:lvl4pPr>
      <a:lvl5pPr marL="2057400" indent="-347472" algn="l" defTabSz="914400" rtl="0" eaLnBrk="1" latinLnBrk="0" hangingPunct="1">
        <a:lnSpc>
          <a:spcPct val="100000"/>
        </a:lnSpc>
        <a:spcBef>
          <a:spcPts val="360"/>
        </a:spcBef>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1"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6"/>
            <a:ext cx="10972801"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64"/>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44906BE-9BFB-43F4-8A1F-401420D0BC66}" type="datetime1">
              <a:rPr lang="en-US" smtClean="0">
                <a:solidFill>
                  <a:prstClr val="black">
                    <a:tint val="75000"/>
                  </a:prstClr>
                </a:solidFill>
              </a:rPr>
              <a:t>8/21/2023</a:t>
            </a:fld>
            <a:endParaRPr lang="en-US">
              <a:solidFill>
                <a:prstClr val="black">
                  <a:tint val="75000"/>
                </a:prstClr>
              </a:solidFill>
            </a:endParaRPr>
          </a:p>
        </p:txBody>
      </p:sp>
      <p:sp>
        <p:nvSpPr>
          <p:cNvPr id="5" name="Footer Placeholder 4"/>
          <p:cNvSpPr>
            <a:spLocks noGrp="1"/>
          </p:cNvSpPr>
          <p:nvPr>
            <p:ph type="ftr" sz="quarter" idx="3"/>
          </p:nvPr>
        </p:nvSpPr>
        <p:spPr>
          <a:xfrm>
            <a:off x="4165601" y="6356364"/>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solidFill>
                  <a:prstClr val="black">
                    <a:tint val="75000"/>
                  </a:prstClr>
                </a:solidFill>
              </a:rPr>
              <a:t>CONFIDENTIALITY NOTICE: This document is privileged and confidential under the Illinois Medical Studies Act and should not be shared or distributed other than through the Rush University Medical Center quality improvement committee structure.</a:t>
            </a:r>
          </a:p>
        </p:txBody>
      </p:sp>
      <p:sp>
        <p:nvSpPr>
          <p:cNvPr id="6" name="Slide Number Placeholder 5"/>
          <p:cNvSpPr>
            <a:spLocks noGrp="1"/>
          </p:cNvSpPr>
          <p:nvPr>
            <p:ph type="sldNum" sz="quarter" idx="4"/>
          </p:nvPr>
        </p:nvSpPr>
        <p:spPr>
          <a:xfrm>
            <a:off x="8737602" y="6356364"/>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156335E-CE13-934F-A4BC-F1C1CD2FD74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31233204"/>
      </p:ext>
    </p:extLst>
  </p:cSld>
  <p:clrMap bg1="lt1" tx1="dk1" bg2="lt2" tx2="dk2" accent1="accent1" accent2="accent2" accent3="accent3" accent4="accent4" accent5="accent5" accent6="accent6" hlink="hlink" folHlink="folHlink"/>
  <p:sldLayoutIdLst>
    <p:sldLayoutId id="2147485581" r:id="rId1"/>
    <p:sldLayoutId id="2147485582" r:id="rId2"/>
    <p:sldLayoutId id="2147485583" r:id="rId3"/>
    <p:sldLayoutId id="2147485584" r:id="rId4"/>
    <p:sldLayoutId id="2147485585" r:id="rId5"/>
    <p:sldLayoutId id="2147485586" r:id="rId6"/>
    <p:sldLayoutId id="2147485587" r:id="rId7"/>
    <p:sldLayoutId id="2147485588" r:id="rId8"/>
    <p:sldLayoutId id="2147485589" r:id="rId9"/>
    <p:sldLayoutId id="2147485590" r:id="rId10"/>
    <p:sldLayoutId id="2147485591" r:id="rId11"/>
  </p:sldLayoutIdLst>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1"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2"/>
            <a:ext cx="10972801"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2"/>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75C20F8-9D88-46F9-9C94-AE9F0E510FE6}" type="datetime1">
              <a:rPr lang="en-US" smtClean="0"/>
              <a:t>8/21/2023</a:t>
            </a:fld>
            <a:endParaRPr lang="en-US"/>
          </a:p>
        </p:txBody>
      </p:sp>
      <p:sp>
        <p:nvSpPr>
          <p:cNvPr id="5" name="Footer Placeholder 4"/>
          <p:cNvSpPr>
            <a:spLocks noGrp="1"/>
          </p:cNvSpPr>
          <p:nvPr>
            <p:ph type="ftr" sz="quarter" idx="3"/>
          </p:nvPr>
        </p:nvSpPr>
        <p:spPr>
          <a:xfrm>
            <a:off x="4165601" y="6356352"/>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CONFIDENTIALITY NOTICE: This document is privileged and confidential under the Illinois Medical Studies Act and should not be shared or distributed other than through the Rush University Medical Center quality improvement committee structure.</a:t>
            </a:r>
          </a:p>
        </p:txBody>
      </p:sp>
      <p:sp>
        <p:nvSpPr>
          <p:cNvPr id="6" name="Slide Number Placeholder 5"/>
          <p:cNvSpPr>
            <a:spLocks noGrp="1"/>
          </p:cNvSpPr>
          <p:nvPr>
            <p:ph type="sldNum" sz="quarter" idx="4"/>
          </p:nvPr>
        </p:nvSpPr>
        <p:spPr>
          <a:xfrm>
            <a:off x="8737601" y="6356352"/>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156335E-CE13-934F-A4BC-F1C1CD2FD744}" type="slidenum">
              <a:rPr lang="en-US" smtClean="0"/>
              <a:t>‹#›</a:t>
            </a:fld>
            <a:endParaRPr lang="en-US"/>
          </a:p>
        </p:txBody>
      </p:sp>
    </p:spTree>
    <p:extLst>
      <p:ext uri="{BB962C8B-B14F-4D97-AF65-F5344CB8AC3E}">
        <p14:creationId xmlns:p14="http://schemas.microsoft.com/office/powerpoint/2010/main" val="4067517795"/>
      </p:ext>
    </p:extLst>
  </p:cSld>
  <p:clrMap bg1="lt1" tx1="dk1" bg2="lt2" tx2="dk2" accent1="accent1" accent2="accent2" accent3="accent3" accent4="accent4" accent5="accent5" accent6="accent6" hlink="hlink" folHlink="folHlink"/>
  <p:sldLayoutIdLst>
    <p:sldLayoutId id="2147485593" r:id="rId1"/>
    <p:sldLayoutId id="2147485594" r:id="rId2"/>
    <p:sldLayoutId id="2147485595" r:id="rId3"/>
    <p:sldLayoutId id="2147485596" r:id="rId4"/>
    <p:sldLayoutId id="2147485597" r:id="rId5"/>
    <p:sldLayoutId id="2147485598" r:id="rId6"/>
    <p:sldLayoutId id="2147485599" r:id="rId7"/>
    <p:sldLayoutId id="2147485600" r:id="rId8"/>
    <p:sldLayoutId id="2147485601" r:id="rId9"/>
    <p:sldLayoutId id="2147485602" r:id="rId10"/>
    <p:sldLayoutId id="2147485603" r:id="rId11"/>
  </p:sldLayoutIdLst>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1.xml"/><Relationship Id="rId1" Type="http://schemas.openxmlformats.org/officeDocument/2006/relationships/slideLayout" Target="../slideLayouts/slideLayout86.xml"/></Relationships>
</file>

<file path=ppt/slides/_rels/slide10.xml.rels><?xml version="1.0" encoding="UTF-8" standalone="yes"?>
<Relationships xmlns="http://schemas.openxmlformats.org/package/2006/relationships"><Relationship Id="rId3" Type="http://schemas.microsoft.com/office/2018/10/relationships/comments" Target="../comments/modernComment_308_C6AB2445.xml"/><Relationship Id="rId2" Type="http://schemas.openxmlformats.org/officeDocument/2006/relationships/image" Target="../media/image61.png"/><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3" Type="http://schemas.microsoft.com/office/2018/10/relationships/comments" Target="../comments/modernComment_308_C6AB2445.xml"/><Relationship Id="rId2" Type="http://schemas.openxmlformats.org/officeDocument/2006/relationships/image" Target="../media/image62.png"/><Relationship Id="rId1" Type="http://schemas.openxmlformats.org/officeDocument/2006/relationships/slideLayout" Target="../slideLayouts/slideLayout90.xml"/></Relationships>
</file>

<file path=ppt/slides/_rels/slide12.xml.rels><?xml version="1.0" encoding="UTF-8" standalone="yes"?>
<Relationships xmlns="http://schemas.openxmlformats.org/package/2006/relationships"><Relationship Id="rId3" Type="http://schemas.microsoft.com/office/2018/10/relationships/comments" Target="../comments/modernComment_308_C6AB2445.xml"/><Relationship Id="rId2" Type="http://schemas.openxmlformats.org/officeDocument/2006/relationships/image" Target="../media/image63.png"/><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3" Type="http://schemas.microsoft.com/office/2018/10/relationships/comments" Target="../comments/modernComment_308_C6AB2445.xml"/><Relationship Id="rId2" Type="http://schemas.openxmlformats.org/officeDocument/2006/relationships/image" Target="../media/image64.png"/><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3" Type="http://schemas.microsoft.com/office/2018/10/relationships/comments" Target="../comments/modernComment_308_C6AB2445.xml"/><Relationship Id="rId2" Type="http://schemas.openxmlformats.org/officeDocument/2006/relationships/image" Target="../media/image65.png"/><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16.xml.rels><?xml version="1.0" encoding="UTF-8" standalone="yes"?>
<Relationships xmlns="http://schemas.openxmlformats.org/package/2006/relationships"><Relationship Id="rId3" Type="http://schemas.openxmlformats.org/officeDocument/2006/relationships/hyperlink" Target="mailto:info@ilpqc.org" TargetMode="External"/><Relationship Id="rId2" Type="http://schemas.openxmlformats.org/officeDocument/2006/relationships/notesSlide" Target="../notesSlides/notesSlide6.xml"/><Relationship Id="rId1" Type="http://schemas.openxmlformats.org/officeDocument/2006/relationships/slideLayout" Target="../slideLayouts/slideLayout90.xml"/><Relationship Id="rId5" Type="http://schemas.openxmlformats.org/officeDocument/2006/relationships/hyperlink" Target="mailto:dweiss@northshore.org" TargetMode="External"/><Relationship Id="rId4" Type="http://schemas.openxmlformats.org/officeDocument/2006/relationships/hyperlink" Target="mailto:ellie.suse@northwestern.edu" TargetMode="External"/></Relationships>
</file>

<file path=ppt/slides/_rels/slide1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32.xml"/></Relationships>
</file>

<file path=ppt/slides/_rels/slide1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7.xml"/><Relationship Id="rId1" Type="http://schemas.openxmlformats.org/officeDocument/2006/relationships/slideLayout" Target="../slideLayouts/slideLayout90.xml"/></Relationships>
</file>

<file path=ppt/slides/_rels/slide1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9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0.xml"/></Relationships>
</file>

<file path=ppt/slides/_rels/slide20.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7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3.xml.rels><?xml version="1.0" encoding="UTF-8" standalone="yes"?>
<Relationships xmlns="http://schemas.openxmlformats.org/package/2006/relationships"><Relationship Id="rId2" Type="http://schemas.microsoft.com/office/2018/10/relationships/comments" Target="../comments/modernComment_312_2ADC05E6.xml"/><Relationship Id="rId1" Type="http://schemas.openxmlformats.org/officeDocument/2006/relationships/slideLayout" Target="../slideLayouts/slideLayout2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5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51.xml"/></Relationships>
</file>

<file path=ppt/slides/_rels/slide26.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54.xml"/></Relationships>
</file>

<file path=ppt/slides/_rels/slide27.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268.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5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262.xml"/></Relationships>
</file>

<file path=ppt/slides/_rels/slide3.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3.xml"/><Relationship Id="rId1" Type="http://schemas.openxmlformats.org/officeDocument/2006/relationships/slideLayout" Target="../slideLayouts/slideLayout9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61.xml"/></Relationships>
</file>

<file path=ppt/slides/_rels/slide31.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Layout" Target="../slideLayouts/slideLayout27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7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82.xml"/></Relationships>
</file>

<file path=ppt/slides/_rels/slide34.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28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8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8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8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8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82.xml"/></Relationships>
</file>

<file path=ppt/slides/_rels/slide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90.xml"/><Relationship Id="rId5" Type="http://schemas.openxmlformats.org/officeDocument/2006/relationships/image" Target="../media/image57.png"/><Relationship Id="rId4" Type="http://schemas.openxmlformats.org/officeDocument/2006/relationships/image" Target="../media/image56.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8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9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hyperlink" Target="mailto:info@ilpqc.org" TargetMode="External"/><Relationship Id="rId1" Type="http://schemas.openxmlformats.org/officeDocument/2006/relationships/slideLayout" Target="../slideLayouts/slideLayout90.xml"/></Relationships>
</file>

<file path=ppt/slides/_rels/slide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xml"/><Relationship Id="rId1" Type="http://schemas.openxmlformats.org/officeDocument/2006/relationships/slideLayout" Target="../slideLayouts/slideLayout90.xml"/><Relationship Id="rId4" Type="http://schemas.openxmlformats.org/officeDocument/2006/relationships/image" Target="../media/image58.sv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5.xml"/><Relationship Id="rId1" Type="http://schemas.openxmlformats.org/officeDocument/2006/relationships/slideLayout" Target="../slideLayouts/slideLayout9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906652" y="3387670"/>
            <a:ext cx="5428426" cy="986569"/>
          </a:xfrm>
        </p:spPr>
        <p:txBody>
          <a:bodyPr vert="horz" lIns="91440" tIns="45720" rIns="91440" bIns="45720" rtlCol="0" anchor="t">
            <a:noAutofit/>
          </a:bodyPr>
          <a:lstStyle/>
          <a:p>
            <a:pPr algn="ctr"/>
            <a:r>
              <a:rPr lang="en-US" sz="3600" dirty="0">
                <a:solidFill>
                  <a:schemeClr val="accent1"/>
                </a:solidFill>
                <a:ea typeface="Lato"/>
                <a:cs typeface="Lato"/>
              </a:rPr>
              <a:t>Monday </a:t>
            </a:r>
            <a:r>
              <a:rPr lang="en-US" sz="3600" dirty="0" smtClean="0">
                <a:solidFill>
                  <a:schemeClr val="accent1"/>
                </a:solidFill>
                <a:ea typeface="Lato"/>
                <a:cs typeface="Lato"/>
              </a:rPr>
              <a:t>August</a:t>
            </a:r>
            <a:r>
              <a:rPr lang="en-US" sz="3600" dirty="0" smtClean="0">
                <a:solidFill>
                  <a:schemeClr val="accent1"/>
                </a:solidFill>
                <a:ea typeface="Lato"/>
                <a:cs typeface="Lato"/>
              </a:rPr>
              <a:t> 21</a:t>
            </a:r>
            <a:r>
              <a:rPr lang="en-US" sz="3600" baseline="30000" dirty="0" smtClean="0">
                <a:solidFill>
                  <a:schemeClr val="accent1"/>
                </a:solidFill>
                <a:ea typeface="Lato"/>
                <a:cs typeface="Lato"/>
              </a:rPr>
              <a:t>st</a:t>
            </a:r>
            <a:r>
              <a:rPr lang="en-US" sz="3600" dirty="0" smtClean="0">
                <a:solidFill>
                  <a:schemeClr val="accent1"/>
                </a:solidFill>
                <a:ea typeface="Lato"/>
                <a:cs typeface="Lato"/>
              </a:rPr>
              <a:t>, </a:t>
            </a:r>
            <a:r>
              <a:rPr lang="en-US" sz="3600" dirty="0">
                <a:solidFill>
                  <a:schemeClr val="accent1"/>
                </a:solidFill>
                <a:ea typeface="Lato"/>
                <a:cs typeface="Lato"/>
              </a:rPr>
              <a:t>2023 2:00 PM</a:t>
            </a:r>
            <a:endParaRPr lang="en-US" dirty="0">
              <a:solidFill>
                <a:schemeClr val="accent1"/>
              </a:solidFill>
              <a:ea typeface="Lato"/>
              <a:cs typeface="Lato"/>
            </a:endParaRPr>
          </a:p>
          <a:p>
            <a:endParaRPr lang="en-US" dirty="0"/>
          </a:p>
        </p:txBody>
      </p:sp>
      <p:pic>
        <p:nvPicPr>
          <p:cNvPr id="5" name="Picture Placeholder 24">
            <a:extLst>
              <a:ext uri="{FF2B5EF4-FFF2-40B4-BE49-F238E27FC236}">
                <a16:creationId xmlns:a16="http://schemas.microsoft.com/office/drawing/2014/main" id="{AFDEE866-04F7-BF46-8FB4-0968BA571C5D}"/>
              </a:ext>
            </a:extLst>
          </p:cNvPr>
          <p:cNvPicPr>
            <a:picLocks noGrp="1" noChangeAspect="1"/>
          </p:cNvPicPr>
          <p:nvPr>
            <p:ph type="pic" sz="quarter" idx="11"/>
          </p:nvPr>
        </p:nvPicPr>
        <p:blipFill>
          <a:blip r:embed="rId3" cstate="email">
            <a:extLst>
              <a:ext uri="{28A0092B-C50C-407E-A947-70E740481C1C}">
                <a14:useLocalDpi xmlns:a14="http://schemas.microsoft.com/office/drawing/2010/main"/>
              </a:ext>
            </a:extLst>
          </a:blip>
          <a:srcRect/>
          <a:stretch>
            <a:fillRect/>
          </a:stretch>
        </p:blipFill>
        <p:spPr>
          <a:xfrm>
            <a:off x="8102027" y="369733"/>
            <a:ext cx="3998441" cy="4684339"/>
          </a:xfrm>
        </p:spPr>
      </p:pic>
      <p:sp>
        <p:nvSpPr>
          <p:cNvPr id="10" name="Title 9"/>
          <p:cNvSpPr>
            <a:spLocks noGrp="1"/>
          </p:cNvSpPr>
          <p:nvPr>
            <p:ph type="ctrTitle"/>
          </p:nvPr>
        </p:nvSpPr>
        <p:spPr>
          <a:xfrm>
            <a:off x="1290181" y="1561331"/>
            <a:ext cx="6698541" cy="1826339"/>
          </a:xfrm>
        </p:spPr>
        <p:txBody>
          <a:bodyPr/>
          <a:lstStyle/>
          <a:p>
            <a:pPr algn="ctr"/>
            <a:r>
              <a:rPr lang="en-US"/>
              <a:t>BASIC Monthly Teams Call: </a:t>
            </a:r>
            <a:br>
              <a:rPr lang="en-US"/>
            </a:br>
            <a:r>
              <a:rPr lang="en-US" b="0"/>
              <a:t>Moving to Sustainability</a:t>
            </a:r>
          </a:p>
        </p:txBody>
      </p:sp>
    </p:spTree>
    <p:extLst>
      <p:ext uri="{BB962C8B-B14F-4D97-AF65-F5344CB8AC3E}">
        <p14:creationId xmlns:p14="http://schemas.microsoft.com/office/powerpoint/2010/main" val="22474395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CA75B9-BA14-D6A6-AAD8-E12B33A35E09}"/>
              </a:ext>
            </a:extLst>
          </p:cNvPr>
          <p:cNvSpPr>
            <a:spLocks noGrp="1"/>
          </p:cNvSpPr>
          <p:nvPr>
            <p:ph type="title"/>
          </p:nvPr>
        </p:nvSpPr>
        <p:spPr/>
        <p:txBody>
          <a:bodyPr/>
          <a:lstStyle/>
          <a:p>
            <a:r>
              <a:rPr lang="en-US" dirty="0">
                <a:ea typeface="Lato Medium"/>
                <a:cs typeface="Calibri"/>
              </a:rPr>
              <a:t>BASIC </a:t>
            </a:r>
            <a:r>
              <a:rPr lang="en-US" dirty="0" smtClean="0">
                <a:ea typeface="Lato Medium"/>
                <a:cs typeface="Calibri"/>
              </a:rPr>
              <a:t>Data Submission Status</a:t>
            </a:r>
            <a:endParaRPr lang="en-US" dirty="0">
              <a:cs typeface="Calibri"/>
            </a:endParaRPr>
          </a:p>
        </p:txBody>
      </p:sp>
      <p:sp>
        <p:nvSpPr>
          <p:cNvPr id="4" name="Slide Number Placeholder 3">
            <a:extLst>
              <a:ext uri="{FF2B5EF4-FFF2-40B4-BE49-F238E27FC236}">
                <a16:creationId xmlns:a16="http://schemas.microsoft.com/office/drawing/2014/main" id="{F29E975D-F918-37B5-74AD-C1AB020D51BA}"/>
              </a:ext>
            </a:extLst>
          </p:cNvPr>
          <p:cNvSpPr>
            <a:spLocks noGrp="1"/>
          </p:cNvSpPr>
          <p:nvPr>
            <p:ph type="sldNum" sz="quarter" idx="10"/>
          </p:nvPr>
        </p:nvSpPr>
        <p:spPr/>
        <p:txBody>
          <a:bodyPr/>
          <a:lstStyle/>
          <a:p>
            <a:fld id="{97033E4B-E3EB-3D46-B2D8-3159663620FA}" type="slidenum">
              <a:rPr lang="en-US" smtClean="0"/>
              <a:pPr/>
              <a:t>10</a:t>
            </a:fld>
            <a:endParaRPr lang="en-US"/>
          </a:p>
        </p:txBody>
      </p:sp>
      <p:sp>
        <p:nvSpPr>
          <p:cNvPr id="5" name="Footer Placeholder 4">
            <a:extLst>
              <a:ext uri="{FF2B5EF4-FFF2-40B4-BE49-F238E27FC236}">
                <a16:creationId xmlns:a16="http://schemas.microsoft.com/office/drawing/2014/main" id="{FC2293F7-A865-832D-40A6-C304F0381336}"/>
              </a:ext>
            </a:extLst>
          </p:cNvPr>
          <p:cNvSpPr>
            <a:spLocks noGrp="1"/>
          </p:cNvSpPr>
          <p:nvPr>
            <p:ph type="ftr" sz="quarter" idx="11"/>
          </p:nvPr>
        </p:nvSpPr>
        <p:spPr/>
        <p:txBody>
          <a:bodyPr/>
          <a:lstStyle/>
          <a:p>
            <a:pPr algn="l"/>
            <a:r>
              <a:rPr lang="en-US"/>
              <a:t>Illinois Perinatal Quality Collaborative</a:t>
            </a:r>
          </a:p>
        </p:txBody>
      </p:sp>
      <p:pic>
        <p:nvPicPr>
          <p:cNvPr id="3" name="Content Placeholder 2"/>
          <p:cNvPicPr>
            <a:picLocks noGrp="1" noChangeAspect="1"/>
          </p:cNvPicPr>
          <p:nvPr>
            <p:ph idx="1"/>
          </p:nvPr>
        </p:nvPicPr>
        <p:blipFill>
          <a:blip r:embed="rId2"/>
          <a:stretch>
            <a:fillRect/>
          </a:stretch>
        </p:blipFill>
        <p:spPr>
          <a:xfrm>
            <a:off x="1893941" y="1690687"/>
            <a:ext cx="7747363" cy="4549749"/>
          </a:xfrm>
          <a:prstGeom prst="rect">
            <a:avLst/>
          </a:prstGeom>
        </p:spPr>
      </p:pic>
      <p:sp>
        <p:nvSpPr>
          <p:cNvPr id="6" name="Down Arrow 5"/>
          <p:cNvSpPr/>
          <p:nvPr/>
        </p:nvSpPr>
        <p:spPr>
          <a:xfrm>
            <a:off x="7763608" y="2294793"/>
            <a:ext cx="641839" cy="967153"/>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p:nvSpPr>
        <p:spPr>
          <a:xfrm>
            <a:off x="7192108" y="1946607"/>
            <a:ext cx="1931747" cy="369332"/>
          </a:xfrm>
          <a:prstGeom prst="rect">
            <a:avLst/>
          </a:prstGeom>
          <a:noFill/>
        </p:spPr>
        <p:txBody>
          <a:bodyPr wrap="none" rtlCol="0">
            <a:spAutoFit/>
          </a:bodyPr>
          <a:lstStyle/>
          <a:p>
            <a:r>
              <a:rPr lang="en-US" dirty="0" smtClean="0"/>
              <a:t>Sustainability Start</a:t>
            </a:r>
            <a:endParaRPr lang="en-US" dirty="0"/>
          </a:p>
        </p:txBody>
      </p:sp>
    </p:spTree>
    <p:extLst>
      <p:ext uri="{BB962C8B-B14F-4D97-AF65-F5344CB8AC3E}">
        <p14:creationId xmlns:p14="http://schemas.microsoft.com/office/powerpoint/2010/main" val="2689183651"/>
      </p:ext>
    </p:extLst>
  </p:cSld>
  <p:clrMapOvr>
    <a:masterClrMapping/>
  </p:clrMapOvr>
  <p:extLst mod="1">
    <p:ext uri="{6950BFC3-D8DA-4A85-94F7-54DA5524770B}">
      <p188:commentRel xmlns:p188="http://schemas.microsoft.com/office/powerpoint/2018/8/main" xmlns="" r:id="rId3"/>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CA75B9-BA14-D6A6-AAD8-E12B33A35E09}"/>
              </a:ext>
            </a:extLst>
          </p:cNvPr>
          <p:cNvSpPr>
            <a:spLocks noGrp="1"/>
          </p:cNvSpPr>
          <p:nvPr>
            <p:ph type="title"/>
          </p:nvPr>
        </p:nvSpPr>
        <p:spPr/>
        <p:txBody>
          <a:bodyPr/>
          <a:lstStyle/>
          <a:p>
            <a:r>
              <a:rPr lang="en-US" dirty="0">
                <a:ea typeface="Lato Medium"/>
                <a:cs typeface="Calibri"/>
              </a:rPr>
              <a:t>BASIC </a:t>
            </a:r>
            <a:r>
              <a:rPr lang="en-US" dirty="0" smtClean="0">
                <a:ea typeface="Lato Medium"/>
                <a:cs typeface="Calibri"/>
              </a:rPr>
              <a:t>Data Results: ABX Prescribing</a:t>
            </a:r>
            <a:br>
              <a:rPr lang="en-US" dirty="0" smtClean="0">
                <a:ea typeface="Lato Medium"/>
                <a:cs typeface="Calibri"/>
              </a:rPr>
            </a:br>
            <a:r>
              <a:rPr lang="en-US" dirty="0" smtClean="0">
                <a:ea typeface="Lato Medium"/>
                <a:cs typeface="Calibri"/>
              </a:rPr>
              <a:t>≥35 Weeks</a:t>
            </a:r>
            <a:endParaRPr lang="en-US" dirty="0">
              <a:cs typeface="Calibri"/>
            </a:endParaRPr>
          </a:p>
        </p:txBody>
      </p:sp>
      <p:sp>
        <p:nvSpPr>
          <p:cNvPr id="4" name="Slide Number Placeholder 3">
            <a:extLst>
              <a:ext uri="{FF2B5EF4-FFF2-40B4-BE49-F238E27FC236}">
                <a16:creationId xmlns:a16="http://schemas.microsoft.com/office/drawing/2014/main" id="{F29E975D-F918-37B5-74AD-C1AB020D51BA}"/>
              </a:ext>
            </a:extLst>
          </p:cNvPr>
          <p:cNvSpPr>
            <a:spLocks noGrp="1"/>
          </p:cNvSpPr>
          <p:nvPr>
            <p:ph type="sldNum" sz="quarter" idx="10"/>
          </p:nvPr>
        </p:nvSpPr>
        <p:spPr/>
        <p:txBody>
          <a:bodyPr/>
          <a:lstStyle/>
          <a:p>
            <a:fld id="{97033E4B-E3EB-3D46-B2D8-3159663620FA}" type="slidenum">
              <a:rPr lang="en-US" smtClean="0"/>
              <a:pPr/>
              <a:t>11</a:t>
            </a:fld>
            <a:endParaRPr lang="en-US"/>
          </a:p>
        </p:txBody>
      </p:sp>
      <p:sp>
        <p:nvSpPr>
          <p:cNvPr id="5" name="Footer Placeholder 4">
            <a:extLst>
              <a:ext uri="{FF2B5EF4-FFF2-40B4-BE49-F238E27FC236}">
                <a16:creationId xmlns:a16="http://schemas.microsoft.com/office/drawing/2014/main" id="{FC2293F7-A865-832D-40A6-C304F0381336}"/>
              </a:ext>
            </a:extLst>
          </p:cNvPr>
          <p:cNvSpPr>
            <a:spLocks noGrp="1"/>
          </p:cNvSpPr>
          <p:nvPr>
            <p:ph type="ftr" sz="quarter" idx="11"/>
          </p:nvPr>
        </p:nvSpPr>
        <p:spPr/>
        <p:txBody>
          <a:bodyPr/>
          <a:lstStyle/>
          <a:p>
            <a:pPr algn="l"/>
            <a:r>
              <a:rPr lang="en-US"/>
              <a:t>Illinois Perinatal Quality Collaborative</a:t>
            </a:r>
          </a:p>
        </p:txBody>
      </p:sp>
      <p:pic>
        <p:nvPicPr>
          <p:cNvPr id="3" name="Content Placeholder 2"/>
          <p:cNvPicPr>
            <a:picLocks noGrp="1" noChangeAspect="1"/>
          </p:cNvPicPr>
          <p:nvPr>
            <p:ph idx="1"/>
          </p:nvPr>
        </p:nvPicPr>
        <p:blipFill>
          <a:blip r:embed="rId2"/>
          <a:stretch>
            <a:fillRect/>
          </a:stretch>
        </p:blipFill>
        <p:spPr>
          <a:xfrm>
            <a:off x="1870065" y="1473209"/>
            <a:ext cx="8451870" cy="5065703"/>
          </a:xfrm>
          <a:prstGeom prst="rect">
            <a:avLst/>
          </a:prstGeom>
        </p:spPr>
      </p:pic>
    </p:spTree>
    <p:extLst>
      <p:ext uri="{BB962C8B-B14F-4D97-AF65-F5344CB8AC3E}">
        <p14:creationId xmlns:p14="http://schemas.microsoft.com/office/powerpoint/2010/main" val="3333104709"/>
      </p:ext>
    </p:extLst>
  </p:cSld>
  <p:clrMapOvr>
    <a:masterClrMapping/>
  </p:clrMapOvr>
  <p:extLst mod="1">
    <p:ext uri="{6950BFC3-D8DA-4A85-94F7-54DA5524770B}">
      <p188:commentRel xmlns:p188="http://schemas.microsoft.com/office/powerpoint/2018/8/main" xmlns="" r:id="rId3"/>
    </p:ext>
  </p:extLs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CA75B9-BA14-D6A6-AAD8-E12B33A35E09}"/>
              </a:ext>
            </a:extLst>
          </p:cNvPr>
          <p:cNvSpPr>
            <a:spLocks noGrp="1"/>
          </p:cNvSpPr>
          <p:nvPr>
            <p:ph type="title"/>
          </p:nvPr>
        </p:nvSpPr>
        <p:spPr/>
        <p:txBody>
          <a:bodyPr/>
          <a:lstStyle/>
          <a:p>
            <a:r>
              <a:rPr lang="en-US" dirty="0">
                <a:ea typeface="Lato Medium"/>
                <a:cs typeface="Calibri"/>
              </a:rPr>
              <a:t>BASIC </a:t>
            </a:r>
            <a:r>
              <a:rPr lang="en-US" dirty="0" smtClean="0">
                <a:ea typeface="Lato Medium"/>
                <a:cs typeface="Calibri"/>
              </a:rPr>
              <a:t>Data Results: ABX Time Out</a:t>
            </a:r>
            <a:endParaRPr lang="en-US" dirty="0">
              <a:cs typeface="Calibri"/>
            </a:endParaRPr>
          </a:p>
        </p:txBody>
      </p:sp>
      <p:sp>
        <p:nvSpPr>
          <p:cNvPr id="4" name="Slide Number Placeholder 3">
            <a:extLst>
              <a:ext uri="{FF2B5EF4-FFF2-40B4-BE49-F238E27FC236}">
                <a16:creationId xmlns:a16="http://schemas.microsoft.com/office/drawing/2014/main" id="{F29E975D-F918-37B5-74AD-C1AB020D51BA}"/>
              </a:ext>
            </a:extLst>
          </p:cNvPr>
          <p:cNvSpPr>
            <a:spLocks noGrp="1"/>
          </p:cNvSpPr>
          <p:nvPr>
            <p:ph type="sldNum" sz="quarter" idx="10"/>
          </p:nvPr>
        </p:nvSpPr>
        <p:spPr/>
        <p:txBody>
          <a:bodyPr/>
          <a:lstStyle/>
          <a:p>
            <a:fld id="{97033E4B-E3EB-3D46-B2D8-3159663620FA}" type="slidenum">
              <a:rPr lang="en-US" smtClean="0"/>
              <a:pPr/>
              <a:t>12</a:t>
            </a:fld>
            <a:endParaRPr lang="en-US"/>
          </a:p>
        </p:txBody>
      </p:sp>
      <p:sp>
        <p:nvSpPr>
          <p:cNvPr id="5" name="Footer Placeholder 4">
            <a:extLst>
              <a:ext uri="{FF2B5EF4-FFF2-40B4-BE49-F238E27FC236}">
                <a16:creationId xmlns:a16="http://schemas.microsoft.com/office/drawing/2014/main" id="{FC2293F7-A865-832D-40A6-C304F0381336}"/>
              </a:ext>
            </a:extLst>
          </p:cNvPr>
          <p:cNvSpPr>
            <a:spLocks noGrp="1"/>
          </p:cNvSpPr>
          <p:nvPr>
            <p:ph type="ftr" sz="quarter" idx="11"/>
          </p:nvPr>
        </p:nvSpPr>
        <p:spPr/>
        <p:txBody>
          <a:bodyPr/>
          <a:lstStyle/>
          <a:p>
            <a:pPr algn="l"/>
            <a:r>
              <a:rPr lang="en-US"/>
              <a:t>Illinois Perinatal Quality Collaborative</a:t>
            </a:r>
          </a:p>
        </p:txBody>
      </p:sp>
      <p:pic>
        <p:nvPicPr>
          <p:cNvPr id="7" name="Content Placeholder 6"/>
          <p:cNvPicPr>
            <a:picLocks noGrp="1" noChangeAspect="1"/>
          </p:cNvPicPr>
          <p:nvPr>
            <p:ph idx="1"/>
          </p:nvPr>
        </p:nvPicPr>
        <p:blipFill>
          <a:blip r:embed="rId2"/>
          <a:stretch>
            <a:fillRect/>
          </a:stretch>
        </p:blipFill>
        <p:spPr>
          <a:xfrm>
            <a:off x="2376485" y="1248936"/>
            <a:ext cx="7439029" cy="5289976"/>
          </a:xfrm>
          <a:prstGeom prst="rect">
            <a:avLst/>
          </a:prstGeom>
        </p:spPr>
      </p:pic>
    </p:spTree>
    <p:extLst>
      <p:ext uri="{BB962C8B-B14F-4D97-AF65-F5344CB8AC3E}">
        <p14:creationId xmlns:p14="http://schemas.microsoft.com/office/powerpoint/2010/main" val="3579543108"/>
      </p:ext>
    </p:extLst>
  </p:cSld>
  <p:clrMapOvr>
    <a:masterClrMapping/>
  </p:clrMapOvr>
  <p:extLst mod="1">
    <p:ext uri="{6950BFC3-D8DA-4A85-94F7-54DA5524770B}">
      <p188:commentRel xmlns:p188="http://schemas.microsoft.com/office/powerpoint/2018/8/main" xmlns="" r:id="rId3"/>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CA75B9-BA14-D6A6-AAD8-E12B33A35E09}"/>
              </a:ext>
            </a:extLst>
          </p:cNvPr>
          <p:cNvSpPr>
            <a:spLocks noGrp="1"/>
          </p:cNvSpPr>
          <p:nvPr>
            <p:ph type="title"/>
          </p:nvPr>
        </p:nvSpPr>
        <p:spPr/>
        <p:txBody>
          <a:bodyPr/>
          <a:lstStyle/>
          <a:p>
            <a:r>
              <a:rPr lang="en-US" dirty="0">
                <a:ea typeface="Lato Medium"/>
                <a:cs typeface="Calibri"/>
              </a:rPr>
              <a:t>BASIC </a:t>
            </a:r>
            <a:r>
              <a:rPr lang="en-US" dirty="0" smtClean="0">
                <a:ea typeface="Lato Medium"/>
                <a:cs typeface="Calibri"/>
              </a:rPr>
              <a:t>Data Results: ABX Stop Time</a:t>
            </a:r>
            <a:endParaRPr lang="en-US" dirty="0">
              <a:cs typeface="Calibri"/>
            </a:endParaRPr>
          </a:p>
        </p:txBody>
      </p:sp>
      <p:sp>
        <p:nvSpPr>
          <p:cNvPr id="4" name="Slide Number Placeholder 3">
            <a:extLst>
              <a:ext uri="{FF2B5EF4-FFF2-40B4-BE49-F238E27FC236}">
                <a16:creationId xmlns:a16="http://schemas.microsoft.com/office/drawing/2014/main" id="{F29E975D-F918-37B5-74AD-C1AB020D51BA}"/>
              </a:ext>
            </a:extLst>
          </p:cNvPr>
          <p:cNvSpPr>
            <a:spLocks noGrp="1"/>
          </p:cNvSpPr>
          <p:nvPr>
            <p:ph type="sldNum" sz="quarter" idx="10"/>
          </p:nvPr>
        </p:nvSpPr>
        <p:spPr/>
        <p:txBody>
          <a:bodyPr/>
          <a:lstStyle/>
          <a:p>
            <a:fld id="{97033E4B-E3EB-3D46-B2D8-3159663620FA}" type="slidenum">
              <a:rPr lang="en-US" smtClean="0"/>
              <a:pPr/>
              <a:t>13</a:t>
            </a:fld>
            <a:endParaRPr lang="en-US"/>
          </a:p>
        </p:txBody>
      </p:sp>
      <p:sp>
        <p:nvSpPr>
          <p:cNvPr id="5" name="Footer Placeholder 4">
            <a:extLst>
              <a:ext uri="{FF2B5EF4-FFF2-40B4-BE49-F238E27FC236}">
                <a16:creationId xmlns:a16="http://schemas.microsoft.com/office/drawing/2014/main" id="{FC2293F7-A865-832D-40A6-C304F0381336}"/>
              </a:ext>
            </a:extLst>
          </p:cNvPr>
          <p:cNvSpPr>
            <a:spLocks noGrp="1"/>
          </p:cNvSpPr>
          <p:nvPr>
            <p:ph type="ftr" sz="quarter" idx="11"/>
          </p:nvPr>
        </p:nvSpPr>
        <p:spPr/>
        <p:txBody>
          <a:bodyPr/>
          <a:lstStyle/>
          <a:p>
            <a:pPr algn="l"/>
            <a:r>
              <a:rPr lang="en-US"/>
              <a:t>Illinois Perinatal Quality Collaborative</a:t>
            </a:r>
          </a:p>
        </p:txBody>
      </p:sp>
      <p:pic>
        <p:nvPicPr>
          <p:cNvPr id="6" name="Content Placeholder 5"/>
          <p:cNvPicPr>
            <a:picLocks noGrp="1" noChangeAspect="1"/>
          </p:cNvPicPr>
          <p:nvPr>
            <p:ph idx="1"/>
          </p:nvPr>
        </p:nvPicPr>
        <p:blipFill>
          <a:blip r:embed="rId2"/>
          <a:stretch>
            <a:fillRect/>
          </a:stretch>
        </p:blipFill>
        <p:spPr>
          <a:xfrm>
            <a:off x="2031028" y="1439348"/>
            <a:ext cx="8129944" cy="4917002"/>
          </a:xfrm>
          <a:prstGeom prst="rect">
            <a:avLst/>
          </a:prstGeom>
        </p:spPr>
      </p:pic>
    </p:spTree>
    <p:extLst>
      <p:ext uri="{BB962C8B-B14F-4D97-AF65-F5344CB8AC3E}">
        <p14:creationId xmlns:p14="http://schemas.microsoft.com/office/powerpoint/2010/main" val="3589167410"/>
      </p:ext>
    </p:extLst>
  </p:cSld>
  <p:clrMapOvr>
    <a:masterClrMapping/>
  </p:clrMapOvr>
  <p:extLst mod="1">
    <p:ext uri="{6950BFC3-D8DA-4A85-94F7-54DA5524770B}">
      <p188:commentRel xmlns:p188="http://schemas.microsoft.com/office/powerpoint/2018/8/main" xmlns="" r:id="rId3"/>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CA75B9-BA14-D6A6-AAD8-E12B33A35E09}"/>
              </a:ext>
            </a:extLst>
          </p:cNvPr>
          <p:cNvSpPr>
            <a:spLocks noGrp="1"/>
          </p:cNvSpPr>
          <p:nvPr>
            <p:ph type="title"/>
          </p:nvPr>
        </p:nvSpPr>
        <p:spPr/>
        <p:txBody>
          <a:bodyPr/>
          <a:lstStyle/>
          <a:p>
            <a:r>
              <a:rPr lang="en-US" dirty="0">
                <a:ea typeface="Lato Medium"/>
                <a:cs typeface="Calibri"/>
              </a:rPr>
              <a:t>BASIC </a:t>
            </a:r>
            <a:r>
              <a:rPr lang="en-US" dirty="0" smtClean="0">
                <a:ea typeface="Lato Medium"/>
                <a:cs typeface="Calibri"/>
              </a:rPr>
              <a:t>Data Results: ABX with Negative </a:t>
            </a:r>
            <a:br>
              <a:rPr lang="en-US" dirty="0" smtClean="0">
                <a:ea typeface="Lato Medium"/>
                <a:cs typeface="Calibri"/>
              </a:rPr>
            </a:br>
            <a:r>
              <a:rPr lang="en-US" dirty="0" smtClean="0">
                <a:ea typeface="Lato Medium"/>
                <a:cs typeface="Calibri"/>
              </a:rPr>
              <a:t>BC Stopped by </a:t>
            </a:r>
            <a:r>
              <a:rPr lang="en-US" dirty="0">
                <a:ea typeface="Lato Medium"/>
                <a:cs typeface="Calibri"/>
              </a:rPr>
              <a:t>36 hours ≥35 Weeks</a:t>
            </a:r>
            <a:endParaRPr lang="en-US" dirty="0">
              <a:cs typeface="Calibri"/>
            </a:endParaRPr>
          </a:p>
        </p:txBody>
      </p:sp>
      <p:sp>
        <p:nvSpPr>
          <p:cNvPr id="4" name="Slide Number Placeholder 3">
            <a:extLst>
              <a:ext uri="{FF2B5EF4-FFF2-40B4-BE49-F238E27FC236}">
                <a16:creationId xmlns:a16="http://schemas.microsoft.com/office/drawing/2014/main" id="{F29E975D-F918-37B5-74AD-C1AB020D51BA}"/>
              </a:ext>
            </a:extLst>
          </p:cNvPr>
          <p:cNvSpPr>
            <a:spLocks noGrp="1"/>
          </p:cNvSpPr>
          <p:nvPr>
            <p:ph type="sldNum" sz="quarter" idx="10"/>
          </p:nvPr>
        </p:nvSpPr>
        <p:spPr/>
        <p:txBody>
          <a:bodyPr/>
          <a:lstStyle/>
          <a:p>
            <a:fld id="{97033E4B-E3EB-3D46-B2D8-3159663620FA}" type="slidenum">
              <a:rPr lang="en-US" smtClean="0"/>
              <a:pPr/>
              <a:t>14</a:t>
            </a:fld>
            <a:endParaRPr lang="en-US"/>
          </a:p>
        </p:txBody>
      </p:sp>
      <p:sp>
        <p:nvSpPr>
          <p:cNvPr id="5" name="Footer Placeholder 4">
            <a:extLst>
              <a:ext uri="{FF2B5EF4-FFF2-40B4-BE49-F238E27FC236}">
                <a16:creationId xmlns:a16="http://schemas.microsoft.com/office/drawing/2014/main" id="{FC2293F7-A865-832D-40A6-C304F0381336}"/>
              </a:ext>
            </a:extLst>
          </p:cNvPr>
          <p:cNvSpPr>
            <a:spLocks noGrp="1"/>
          </p:cNvSpPr>
          <p:nvPr>
            <p:ph type="ftr" sz="quarter" idx="11"/>
          </p:nvPr>
        </p:nvSpPr>
        <p:spPr/>
        <p:txBody>
          <a:bodyPr/>
          <a:lstStyle/>
          <a:p>
            <a:pPr algn="l"/>
            <a:r>
              <a:rPr lang="en-US"/>
              <a:t>Illinois Perinatal Quality Collaborative</a:t>
            </a:r>
          </a:p>
        </p:txBody>
      </p:sp>
      <p:pic>
        <p:nvPicPr>
          <p:cNvPr id="7" name="Content Placeholder 6"/>
          <p:cNvPicPr>
            <a:picLocks noGrp="1" noChangeAspect="1"/>
          </p:cNvPicPr>
          <p:nvPr>
            <p:ph idx="1"/>
          </p:nvPr>
        </p:nvPicPr>
        <p:blipFill>
          <a:blip r:embed="rId2"/>
          <a:stretch>
            <a:fillRect/>
          </a:stretch>
        </p:blipFill>
        <p:spPr>
          <a:xfrm>
            <a:off x="2005262" y="1774392"/>
            <a:ext cx="7603957" cy="4947083"/>
          </a:xfrm>
          <a:prstGeom prst="rect">
            <a:avLst/>
          </a:prstGeom>
        </p:spPr>
      </p:pic>
    </p:spTree>
    <p:extLst>
      <p:ext uri="{BB962C8B-B14F-4D97-AF65-F5344CB8AC3E}">
        <p14:creationId xmlns:p14="http://schemas.microsoft.com/office/powerpoint/2010/main" val="2062690235"/>
      </p:ext>
    </p:extLst>
  </p:cSld>
  <p:clrMapOvr>
    <a:masterClrMapping/>
  </p:clrMapOvr>
  <p:extLst mod="1">
    <p:ext uri="{6950BFC3-D8DA-4A85-94F7-54DA5524770B}">
      <p188:commentRel xmlns:p188="http://schemas.microsoft.com/office/powerpoint/2018/8/main" xmlns="" r:id="rId3"/>
    </p:ext>
  </p:extLs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Ensuring Your </a:t>
            </a:r>
            <a:r>
              <a:rPr lang="en-US" dirty="0" smtClean="0"/>
              <a:t>BASIC </a:t>
            </a:r>
            <a:r>
              <a:rPr lang="en-US" dirty="0" smtClean="0"/>
              <a:t>Team </a:t>
            </a:r>
            <a:r>
              <a:rPr lang="en-US" dirty="0" smtClean="0"/>
              <a:t>is </a:t>
            </a:r>
            <a:r>
              <a:rPr lang="en-US" dirty="0" smtClean="0"/>
              <a:t>in Sustainability</a:t>
            </a:r>
            <a:endParaRPr lang="en-US" dirty="0"/>
          </a:p>
        </p:txBody>
      </p:sp>
      <p:sp>
        <p:nvSpPr>
          <p:cNvPr id="7" name="Subtitle 6"/>
          <p:cNvSpPr>
            <a:spLocks noGrp="1"/>
          </p:cNvSpPr>
          <p:nvPr>
            <p:ph type="subTitle" idx="1"/>
          </p:nvPr>
        </p:nvSpPr>
        <p:spPr/>
        <p:txBody>
          <a:bodyPr/>
          <a:lstStyle/>
          <a:p>
            <a:endParaRPr lang="en-US"/>
          </a:p>
        </p:txBody>
      </p:sp>
      <p:sp>
        <p:nvSpPr>
          <p:cNvPr id="4" name="Slide Number Placeholder 3"/>
          <p:cNvSpPr>
            <a:spLocks noGrp="1"/>
          </p:cNvSpPr>
          <p:nvPr>
            <p:ph type="sldNum" sz="quarter" idx="4294967295"/>
          </p:nvPr>
        </p:nvSpPr>
        <p:spPr>
          <a:xfrm>
            <a:off x="9448800" y="6356350"/>
            <a:ext cx="2743200" cy="365125"/>
          </a:xfrm>
        </p:spPr>
        <p:txBody>
          <a:bodyPr/>
          <a:lstStyle/>
          <a:p>
            <a:fld id="{97033E4B-E3EB-3D46-B2D8-3159663620FA}" type="slidenum">
              <a:rPr lang="en-US" smtClean="0"/>
              <a:pPr/>
              <a:t>15</a:t>
            </a:fld>
            <a:endParaRPr lang="en-US"/>
          </a:p>
        </p:txBody>
      </p:sp>
      <p:sp>
        <p:nvSpPr>
          <p:cNvPr id="5" name="Footer Placeholder 4"/>
          <p:cNvSpPr>
            <a:spLocks noGrp="1"/>
          </p:cNvSpPr>
          <p:nvPr>
            <p:ph type="ftr" sz="quarter" idx="4294967295"/>
          </p:nvPr>
        </p:nvSpPr>
        <p:spPr>
          <a:xfrm>
            <a:off x="0" y="6356350"/>
            <a:ext cx="4114800" cy="365125"/>
          </a:xfrm>
        </p:spPr>
        <p:txBody>
          <a:bodyPr/>
          <a:lstStyle/>
          <a:p>
            <a:pPr algn="l"/>
            <a:r>
              <a:rPr lang="en-US"/>
              <a:t>Illinois Perinatal Quality Collaborative</a:t>
            </a:r>
          </a:p>
        </p:txBody>
      </p:sp>
    </p:spTree>
    <p:extLst>
      <p:ext uri="{BB962C8B-B14F-4D97-AF65-F5344CB8AC3E}">
        <p14:creationId xmlns:p14="http://schemas.microsoft.com/office/powerpoint/2010/main" val="15349281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a:lstStyle/>
          <a:p>
            <a:r>
              <a:rPr lang="en-US" dirty="0"/>
              <a:t>Steps </a:t>
            </a:r>
            <a:r>
              <a:rPr lang="en-US" dirty="0" smtClean="0"/>
              <a:t>for </a:t>
            </a:r>
            <a:r>
              <a:rPr lang="en-US" dirty="0"/>
              <a:t>Sustainability</a:t>
            </a:r>
          </a:p>
        </p:txBody>
      </p:sp>
      <p:sp>
        <p:nvSpPr>
          <p:cNvPr id="3" name="Content Placeholder 2"/>
          <p:cNvSpPr>
            <a:spLocks noGrp="1"/>
          </p:cNvSpPr>
          <p:nvPr>
            <p:ph idx="1"/>
          </p:nvPr>
        </p:nvSpPr>
        <p:spPr>
          <a:xfrm>
            <a:off x="609600" y="1250531"/>
            <a:ext cx="10972800" cy="4351338"/>
          </a:xfrm>
        </p:spPr>
        <p:txBody>
          <a:bodyPr vert="horz" lIns="91440" tIns="45720" rIns="91440" bIns="45720" rtlCol="0" anchor="t">
            <a:noAutofit/>
          </a:bodyPr>
          <a:lstStyle/>
          <a:p>
            <a:pPr>
              <a:buFont typeface="Wingdings" panose="05000000000000000000" pitchFamily="2" charset="2"/>
              <a:buChar char="q"/>
            </a:pPr>
            <a:r>
              <a:rPr lang="en-US" b="1" u="sng" dirty="0">
                <a:ea typeface="Lato"/>
                <a:cs typeface="Lato"/>
              </a:rPr>
              <a:t>Continue Submitting BASIC Data </a:t>
            </a:r>
            <a:r>
              <a:rPr lang="en-US" b="1" u="sng" dirty="0" smtClean="0">
                <a:ea typeface="Lato"/>
                <a:cs typeface="Lato"/>
              </a:rPr>
              <a:t>through 2023 </a:t>
            </a:r>
            <a:r>
              <a:rPr lang="en-US" dirty="0" smtClean="0">
                <a:ea typeface="Lato"/>
                <a:cs typeface="Lato"/>
              </a:rPr>
              <a:t>in </a:t>
            </a:r>
            <a:r>
              <a:rPr lang="en-US" dirty="0">
                <a:ea typeface="Lato"/>
                <a:cs typeface="Lato"/>
              </a:rPr>
              <a:t>REDCap including:</a:t>
            </a:r>
          </a:p>
          <a:p>
            <a:pPr lvl="1">
              <a:buFont typeface="Wingdings" panose="05000000000000000000" pitchFamily="2" charset="2"/>
              <a:buChar char="q"/>
            </a:pPr>
            <a:r>
              <a:rPr lang="en-US" dirty="0">
                <a:ea typeface="Lato"/>
                <a:cs typeface="Lato"/>
              </a:rPr>
              <a:t>BASIC Monthly Newborns Data Form</a:t>
            </a:r>
          </a:p>
          <a:p>
            <a:pPr lvl="1">
              <a:buFont typeface="Wingdings" panose="05000000000000000000" pitchFamily="2" charset="2"/>
              <a:buChar char="q"/>
            </a:pPr>
            <a:r>
              <a:rPr lang="en-US" dirty="0">
                <a:ea typeface="Lato"/>
                <a:cs typeface="Lato"/>
              </a:rPr>
              <a:t>BASIC Monthly Hospital Data Form</a:t>
            </a:r>
          </a:p>
          <a:p>
            <a:pPr>
              <a:buClr>
                <a:srgbClr val="F5668F"/>
              </a:buClr>
              <a:buFont typeface="Wingdings" panose="05000000000000000000" pitchFamily="2" charset="2"/>
              <a:buChar char="q"/>
            </a:pPr>
            <a:r>
              <a:rPr lang="en-US" dirty="0">
                <a:ea typeface="Lato"/>
                <a:cs typeface="Lato"/>
              </a:rPr>
              <a:t>Facilitate completion of education with all providers and nurses</a:t>
            </a:r>
          </a:p>
          <a:p>
            <a:pPr>
              <a:buClr>
                <a:srgbClr val="F5668F"/>
              </a:buClr>
              <a:buFont typeface="Wingdings" panose="05000000000000000000" pitchFamily="2" charset="2"/>
              <a:buChar char="q"/>
            </a:pPr>
            <a:r>
              <a:rPr lang="en-US" dirty="0">
                <a:ea typeface="Lato"/>
                <a:cs typeface="Lato"/>
              </a:rPr>
              <a:t>Review your hospitals antibiotics prescribing rates and % of newborns with a negative blood culture receiving antibiotics past 36 </a:t>
            </a:r>
            <a:r>
              <a:rPr lang="en-US" dirty="0" err="1">
                <a:ea typeface="Lato"/>
                <a:cs typeface="Lato"/>
              </a:rPr>
              <a:t>hrs</a:t>
            </a:r>
            <a:endParaRPr lang="en-US" dirty="0"/>
          </a:p>
          <a:p>
            <a:pPr>
              <a:buClr>
                <a:srgbClr val="F5668F"/>
              </a:buClr>
              <a:buFont typeface="Wingdings" panose="05000000000000000000" pitchFamily="2" charset="2"/>
              <a:buChar char="q"/>
            </a:pPr>
            <a:r>
              <a:rPr lang="en-US" dirty="0">
                <a:ea typeface="Lato"/>
                <a:cs typeface="Lato"/>
              </a:rPr>
              <a:t>Develop sustainability plan with your QI team, submit to your Perinatal Network Administrator &amp; ILPQC (</a:t>
            </a:r>
            <a:r>
              <a:rPr lang="en-US" dirty="0">
                <a:ea typeface="Lato"/>
                <a:cs typeface="Lato"/>
                <a:hlinkClick r:id="rId3"/>
              </a:rPr>
              <a:t>info@ilpqc.org</a:t>
            </a:r>
            <a:r>
              <a:rPr lang="en-US" dirty="0">
                <a:ea typeface="Lato"/>
                <a:cs typeface="Lato"/>
              </a:rPr>
              <a:t>, </a:t>
            </a:r>
            <a:r>
              <a:rPr lang="en-US" dirty="0">
                <a:ea typeface="Lato"/>
                <a:cs typeface="Lato"/>
                <a:hlinkClick r:id="rId4"/>
              </a:rPr>
              <a:t>ellie.suse@northwestern.edu</a:t>
            </a:r>
            <a:r>
              <a:rPr lang="en-US" dirty="0">
                <a:ea typeface="Lato"/>
                <a:cs typeface="Lato"/>
              </a:rPr>
              <a:t>, or </a:t>
            </a:r>
            <a:r>
              <a:rPr lang="en-US" dirty="0">
                <a:ea typeface="Lato"/>
                <a:cs typeface="Lato"/>
                <a:hlinkClick r:id="rId5"/>
              </a:rPr>
              <a:t>dweiss@northshore.org</a:t>
            </a:r>
            <a:r>
              <a:rPr lang="en-US" dirty="0">
                <a:ea typeface="Lato"/>
                <a:cs typeface="Lato"/>
              </a:rPr>
              <a:t>) </a:t>
            </a:r>
          </a:p>
          <a:p>
            <a:pPr>
              <a:buClr>
                <a:srgbClr val="F5668F"/>
              </a:buClr>
              <a:buFont typeface="Wingdings" panose="05000000000000000000" pitchFamily="2" charset="2"/>
              <a:buChar char="q"/>
            </a:pPr>
            <a:r>
              <a:rPr lang="en-US" dirty="0">
                <a:ea typeface="Lato"/>
                <a:cs typeface="Lato"/>
              </a:rPr>
              <a:t>Continue to collect / submit BASIC data for sustained improvement tracking</a:t>
            </a:r>
            <a:endParaRPr lang="en-US" dirty="0"/>
          </a:p>
        </p:txBody>
      </p:sp>
      <p:sp>
        <p:nvSpPr>
          <p:cNvPr id="4" name="Slide Number Placeholder 3"/>
          <p:cNvSpPr>
            <a:spLocks noGrp="1"/>
          </p:cNvSpPr>
          <p:nvPr>
            <p:ph type="sldNum" sz="quarter" idx="10"/>
          </p:nvPr>
        </p:nvSpPr>
        <p:spPr/>
        <p:txBody>
          <a:bodyPr/>
          <a:lstStyle/>
          <a:p>
            <a:fld id="{97033E4B-E3EB-3D46-B2D8-3159663620FA}" type="slidenum">
              <a:rPr lang="en-US" dirty="0" smtClean="0"/>
              <a:pPr/>
              <a:t>16</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429379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59657" y="1278807"/>
            <a:ext cx="2660612" cy="1325563"/>
          </a:xfrm>
        </p:spPr>
        <p:txBody>
          <a:bodyPr/>
          <a:lstStyle/>
          <a:p>
            <a:pPr algn="ctr"/>
            <a:r>
              <a:rPr lang="en-US" sz="3200"/>
              <a:t>BASIC Sustainability Plan</a:t>
            </a:r>
          </a:p>
        </p:txBody>
      </p:sp>
      <p:pic>
        <p:nvPicPr>
          <p:cNvPr id="6" name="Picture 5"/>
          <p:cNvPicPr>
            <a:picLocks noChangeAspect="1"/>
          </p:cNvPicPr>
          <p:nvPr/>
        </p:nvPicPr>
        <p:blipFill>
          <a:blip r:embed="rId2"/>
          <a:stretch>
            <a:fillRect/>
          </a:stretch>
        </p:blipFill>
        <p:spPr>
          <a:xfrm>
            <a:off x="6617707" y="166851"/>
            <a:ext cx="5569607" cy="6558672"/>
          </a:xfrm>
          <a:prstGeom prst="rect">
            <a:avLst/>
          </a:prstGeom>
          <a:ln w="38100">
            <a:solidFill>
              <a:schemeClr val="tx1"/>
            </a:solidFill>
          </a:ln>
        </p:spPr>
      </p:pic>
      <p:sp>
        <p:nvSpPr>
          <p:cNvPr id="10" name="Content Placeholder 2"/>
          <p:cNvSpPr txBox="1">
            <a:spLocks/>
          </p:cNvSpPr>
          <p:nvPr/>
        </p:nvSpPr>
        <p:spPr>
          <a:xfrm>
            <a:off x="2815832" y="986360"/>
            <a:ext cx="3623733" cy="4351338"/>
          </a:xfrm>
          <a:prstGeom prst="rect">
            <a:avLst/>
          </a:prstGeom>
        </p:spPr>
        <p:txBody>
          <a:bodyPr vert="horz" lIns="91440" tIns="45720" rIns="91440" bIns="45720" rtlCol="0" anchor="t">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a:ea typeface="Lato"/>
                <a:cs typeface="Lato"/>
              </a:rPr>
              <a:t>Why is sustainability planning important?</a:t>
            </a:r>
          </a:p>
          <a:p>
            <a:pPr lvl="1"/>
            <a:r>
              <a:rPr lang="en-US">
                <a:ea typeface="Lato"/>
                <a:cs typeface="Lato"/>
              </a:rPr>
              <a:t>To sustain the hard work you have put in over the last 2 years of BASIC</a:t>
            </a:r>
          </a:p>
          <a:p>
            <a:pPr lvl="1"/>
            <a:r>
              <a:rPr lang="en-US">
                <a:ea typeface="Lato"/>
                <a:cs typeface="Lato"/>
              </a:rPr>
              <a:t>To ensure processes are in place to continue antibiotic stewardship best practices for all newborns</a:t>
            </a:r>
          </a:p>
          <a:p>
            <a:pPr lvl="1"/>
            <a:r>
              <a:rPr lang="en-US">
                <a:ea typeface="Lato"/>
                <a:cs typeface="Lato"/>
              </a:rPr>
              <a:t>To ensure all new hires are educated on the protocols for antibiotic prescribing</a:t>
            </a:r>
          </a:p>
          <a:p>
            <a:pPr lvl="1"/>
            <a:endParaRPr lang="en-US">
              <a:ea typeface="Lato"/>
              <a:cs typeface="Lato"/>
            </a:endParaRPr>
          </a:p>
        </p:txBody>
      </p:sp>
    </p:spTree>
    <p:extLst>
      <p:ext uri="{BB962C8B-B14F-4D97-AF65-F5344CB8AC3E}">
        <p14:creationId xmlns:p14="http://schemas.microsoft.com/office/powerpoint/2010/main" val="23253662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a:lstStyle/>
          <a:p>
            <a:r>
              <a:rPr lang="en-US">
                <a:ea typeface="Lato Medium"/>
                <a:cs typeface="Lato Medium"/>
              </a:rPr>
              <a:t>BASIC Sustainability Plan </a:t>
            </a:r>
            <a:endParaRPr lang="en-US"/>
          </a:p>
        </p:txBody>
      </p:sp>
      <p:pic>
        <p:nvPicPr>
          <p:cNvPr id="6" name="Content Placeholder 5"/>
          <p:cNvPicPr>
            <a:picLocks noGrp="1" noChangeAspect="1"/>
          </p:cNvPicPr>
          <p:nvPr>
            <p:ph idx="1"/>
          </p:nvPr>
        </p:nvPicPr>
        <p:blipFill>
          <a:blip r:embed="rId3"/>
          <a:stretch>
            <a:fillRect/>
          </a:stretch>
        </p:blipFill>
        <p:spPr>
          <a:xfrm>
            <a:off x="1145822" y="1590921"/>
            <a:ext cx="9900355" cy="4865196"/>
          </a:xfrm>
          <a:prstGeom prst="rect">
            <a:avLst/>
          </a:prstGeom>
        </p:spPr>
      </p:pic>
      <p:sp>
        <p:nvSpPr>
          <p:cNvPr id="4" name="Slide Number Placeholder 3"/>
          <p:cNvSpPr>
            <a:spLocks noGrp="1"/>
          </p:cNvSpPr>
          <p:nvPr>
            <p:ph type="sldNum" sz="quarter" idx="10"/>
          </p:nvPr>
        </p:nvSpPr>
        <p:spPr/>
        <p:txBody>
          <a:bodyPr/>
          <a:lstStyle/>
          <a:p>
            <a:fld id="{97033E4B-E3EB-3D46-B2D8-3159663620FA}" type="slidenum">
              <a:rPr lang="en-US" smtClean="0"/>
              <a:pPr/>
              <a:t>18</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283634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a:lstStyle/>
          <a:p>
            <a:r>
              <a:rPr lang="en-US">
                <a:ea typeface="Lato Medium"/>
                <a:cs typeface="Lato Medium"/>
              </a:rPr>
              <a:t>BASIC Sustainability Plan </a:t>
            </a:r>
            <a:endParaRPr lang="en-US"/>
          </a:p>
        </p:txBody>
      </p:sp>
      <p:sp>
        <p:nvSpPr>
          <p:cNvPr id="3" name="Content Placeholder 2"/>
          <p:cNvSpPr>
            <a:spLocks noGrp="1"/>
          </p:cNvSpPr>
          <p:nvPr>
            <p:ph idx="1"/>
          </p:nvPr>
        </p:nvSpPr>
        <p:spPr>
          <a:xfrm>
            <a:off x="546062" y="1339346"/>
            <a:ext cx="10972800" cy="4351338"/>
          </a:xfrm>
        </p:spPr>
        <p:txBody>
          <a:bodyPr vert="horz" lIns="91440" tIns="45720" rIns="91440" bIns="45720" rtlCol="0" anchor="t">
            <a:noAutofit/>
          </a:bodyPr>
          <a:lstStyle/>
          <a:p>
            <a:pPr marL="0" indent="0">
              <a:buNone/>
            </a:pPr>
            <a:endParaRPr lang="en-US"/>
          </a:p>
          <a:p>
            <a:endParaRPr lang="en-US">
              <a:ea typeface="Lato"/>
              <a:cs typeface="Lato"/>
            </a:endParaRPr>
          </a:p>
        </p:txBody>
      </p:sp>
      <p:sp>
        <p:nvSpPr>
          <p:cNvPr id="4" name="Slide Number Placeholder 3"/>
          <p:cNvSpPr>
            <a:spLocks noGrp="1"/>
          </p:cNvSpPr>
          <p:nvPr>
            <p:ph type="sldNum" sz="quarter" idx="10"/>
          </p:nvPr>
        </p:nvSpPr>
        <p:spPr/>
        <p:txBody>
          <a:bodyPr/>
          <a:lstStyle/>
          <a:p>
            <a:fld id="{97033E4B-E3EB-3D46-B2D8-3159663620FA}" type="slidenum">
              <a:rPr lang="en-US" smtClean="0"/>
              <a:pPr/>
              <a:t>19</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pic>
        <p:nvPicPr>
          <p:cNvPr id="6" name="Picture 5"/>
          <p:cNvPicPr>
            <a:picLocks noChangeAspect="1"/>
          </p:cNvPicPr>
          <p:nvPr/>
        </p:nvPicPr>
        <p:blipFill>
          <a:blip r:embed="rId2"/>
          <a:stretch>
            <a:fillRect/>
          </a:stretch>
        </p:blipFill>
        <p:spPr>
          <a:xfrm>
            <a:off x="665716" y="1898609"/>
            <a:ext cx="10853146" cy="4124908"/>
          </a:xfrm>
          <a:prstGeom prst="rect">
            <a:avLst/>
          </a:prstGeom>
        </p:spPr>
      </p:pic>
    </p:spTree>
    <p:extLst>
      <p:ext uri="{BB962C8B-B14F-4D97-AF65-F5344CB8AC3E}">
        <p14:creationId xmlns:p14="http://schemas.microsoft.com/office/powerpoint/2010/main" val="30676553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all Overview</a:t>
            </a:r>
          </a:p>
        </p:txBody>
      </p:sp>
      <p:sp>
        <p:nvSpPr>
          <p:cNvPr id="3" name="Content Placeholder 2"/>
          <p:cNvSpPr>
            <a:spLocks noGrp="1"/>
          </p:cNvSpPr>
          <p:nvPr>
            <p:ph idx="1"/>
          </p:nvPr>
        </p:nvSpPr>
        <p:spPr/>
        <p:txBody>
          <a:bodyPr vert="horz" lIns="91440" tIns="45720" rIns="91440" bIns="45720" rtlCol="0" anchor="t">
            <a:noAutofit/>
          </a:bodyPr>
          <a:lstStyle/>
          <a:p>
            <a:pPr>
              <a:buClr>
                <a:srgbClr val="F5668F"/>
              </a:buClr>
            </a:pPr>
            <a:r>
              <a:rPr lang="en-US" sz="3200" dirty="0">
                <a:ea typeface="+mn-lt"/>
                <a:cs typeface="+mn-lt"/>
              </a:rPr>
              <a:t>ILPQC Annual Conference 2023</a:t>
            </a:r>
          </a:p>
          <a:p>
            <a:pPr>
              <a:buClr>
                <a:srgbClr val="F5668F"/>
              </a:buClr>
            </a:pPr>
            <a:r>
              <a:rPr lang="en-US" sz="3200" dirty="0">
                <a:ea typeface="+mn-lt"/>
                <a:cs typeface="+mn-lt"/>
              </a:rPr>
              <a:t>BASIC Data Overview</a:t>
            </a:r>
          </a:p>
          <a:p>
            <a:pPr>
              <a:buClr>
                <a:srgbClr val="F5668F"/>
              </a:buClr>
            </a:pPr>
            <a:r>
              <a:rPr lang="en-US" sz="3200" dirty="0">
                <a:ea typeface="+mn-lt"/>
                <a:cs typeface="+mn-lt"/>
              </a:rPr>
              <a:t>BASIC Sustainability</a:t>
            </a:r>
          </a:p>
          <a:p>
            <a:r>
              <a:rPr lang="en-US" sz="3200" dirty="0">
                <a:ea typeface="Lato"/>
                <a:cs typeface="Calibri" panose="020F0502020204030204"/>
              </a:rPr>
              <a:t>Team Talks</a:t>
            </a:r>
          </a:p>
          <a:p>
            <a:pPr lvl="1"/>
            <a:r>
              <a:rPr lang="en-US" sz="2800" dirty="0">
                <a:ea typeface="Lato"/>
                <a:cs typeface="Calibri"/>
              </a:rPr>
              <a:t>Memorial Hospital Shiloh- Kelsey Dunning, BSN, RNC-LRN</a:t>
            </a:r>
          </a:p>
          <a:p>
            <a:r>
              <a:rPr lang="en-US" sz="3200" dirty="0">
                <a:ea typeface="Lato"/>
                <a:cs typeface="Lato"/>
              </a:rPr>
              <a:t>Next Steps</a:t>
            </a:r>
            <a:endParaRPr lang="en-US" sz="3200" dirty="0"/>
          </a:p>
          <a:p>
            <a:endParaRPr lang="en-US"/>
          </a:p>
          <a:p>
            <a:pPr lvl="1"/>
            <a:endParaRPr lang="en-US"/>
          </a:p>
          <a:p>
            <a:pPr marL="457200" lvl="1" indent="0">
              <a:buNone/>
            </a:pPr>
            <a:endParaRPr lang="en-US"/>
          </a:p>
          <a:p>
            <a:pPr lvl="1"/>
            <a:endParaRPr lang="en-US"/>
          </a:p>
          <a:p>
            <a:pPr lvl="1"/>
            <a:endParaRPr lang="en-US"/>
          </a:p>
          <a:p>
            <a:endParaRPr lang="en-US"/>
          </a:p>
        </p:txBody>
      </p:sp>
      <p:sp>
        <p:nvSpPr>
          <p:cNvPr id="4" name="Slide Number Placeholder 3"/>
          <p:cNvSpPr>
            <a:spLocks noGrp="1"/>
          </p:cNvSpPr>
          <p:nvPr>
            <p:ph type="sldNum" sz="quarter" idx="10"/>
          </p:nvPr>
        </p:nvSpPr>
        <p:spPr/>
        <p:txBody>
          <a:bodyPr/>
          <a:lstStyle/>
          <a:p>
            <a:fld id="{97033E4B-E3EB-3D46-B2D8-3159663620FA}" type="slidenum">
              <a:rPr lang="en-US" smtClean="0"/>
              <a:pPr/>
              <a:t>2</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223569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a:lstStyle/>
          <a:p>
            <a:r>
              <a:rPr lang="en-US">
                <a:ea typeface="Lato Medium"/>
                <a:cs typeface="Lato Medium"/>
              </a:rPr>
              <a:t>BASIC Sustainability Plan </a:t>
            </a:r>
            <a:endParaRPr lang="en-US"/>
          </a:p>
        </p:txBody>
      </p:sp>
      <p:sp>
        <p:nvSpPr>
          <p:cNvPr id="3" name="Content Placeholder 2"/>
          <p:cNvSpPr>
            <a:spLocks noGrp="1"/>
          </p:cNvSpPr>
          <p:nvPr>
            <p:ph idx="1"/>
          </p:nvPr>
        </p:nvSpPr>
        <p:spPr>
          <a:xfrm>
            <a:off x="546062" y="1339346"/>
            <a:ext cx="10972800" cy="4351338"/>
          </a:xfrm>
        </p:spPr>
        <p:txBody>
          <a:bodyPr vert="horz" lIns="91440" tIns="45720" rIns="91440" bIns="45720" rtlCol="0" anchor="t">
            <a:noAutofit/>
          </a:bodyPr>
          <a:lstStyle/>
          <a:p>
            <a:pPr marL="0" indent="0">
              <a:buNone/>
            </a:pPr>
            <a:endParaRPr lang="en-US"/>
          </a:p>
          <a:p>
            <a:endParaRPr lang="en-US">
              <a:ea typeface="Lato"/>
              <a:cs typeface="Lato"/>
            </a:endParaRPr>
          </a:p>
        </p:txBody>
      </p:sp>
      <p:sp>
        <p:nvSpPr>
          <p:cNvPr id="4" name="Slide Number Placeholder 3"/>
          <p:cNvSpPr>
            <a:spLocks noGrp="1"/>
          </p:cNvSpPr>
          <p:nvPr>
            <p:ph type="sldNum" sz="quarter" idx="10"/>
          </p:nvPr>
        </p:nvSpPr>
        <p:spPr/>
        <p:txBody>
          <a:bodyPr/>
          <a:lstStyle/>
          <a:p>
            <a:fld id="{97033E4B-E3EB-3D46-B2D8-3159663620FA}" type="slidenum">
              <a:rPr lang="en-US" smtClean="0"/>
              <a:pPr/>
              <a:t>20</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pic>
        <p:nvPicPr>
          <p:cNvPr id="7" name="Picture 6"/>
          <p:cNvPicPr>
            <a:picLocks noChangeAspect="1"/>
          </p:cNvPicPr>
          <p:nvPr/>
        </p:nvPicPr>
        <p:blipFill>
          <a:blip r:embed="rId2"/>
          <a:stretch>
            <a:fillRect/>
          </a:stretch>
        </p:blipFill>
        <p:spPr>
          <a:xfrm>
            <a:off x="1160395" y="2120988"/>
            <a:ext cx="9744134" cy="3139395"/>
          </a:xfrm>
          <a:prstGeom prst="rect">
            <a:avLst/>
          </a:prstGeom>
        </p:spPr>
      </p:pic>
    </p:spTree>
    <p:extLst>
      <p:ext uri="{BB962C8B-B14F-4D97-AF65-F5344CB8AC3E}">
        <p14:creationId xmlns:p14="http://schemas.microsoft.com/office/powerpoint/2010/main" val="22266526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418432"/>
            <a:ext cx="2807368" cy="1325563"/>
          </a:xfrm>
          <a:noFill/>
        </p:spPr>
        <p:txBody>
          <a:bodyPr/>
          <a:lstStyle/>
          <a:p>
            <a:pPr algn="ctr"/>
            <a:r>
              <a:rPr lang="en-US"/>
              <a:t>BASIC Sustainability  Check-In Worksheet</a:t>
            </a:r>
          </a:p>
        </p:txBody>
      </p:sp>
      <p:sp>
        <p:nvSpPr>
          <p:cNvPr id="4" name="Slide Number Placeholder 3"/>
          <p:cNvSpPr>
            <a:spLocks noGrp="1"/>
          </p:cNvSpPr>
          <p:nvPr>
            <p:ph type="sldNum" sz="quarter" idx="4294967295"/>
          </p:nvPr>
        </p:nvSpPr>
        <p:spPr>
          <a:xfrm>
            <a:off x="9448800" y="6356350"/>
            <a:ext cx="2743200" cy="365125"/>
          </a:xfrm>
        </p:spPr>
        <p:txBody>
          <a:bodyPr/>
          <a:lstStyle/>
          <a:p>
            <a:fld id="{97033E4B-E3EB-3D46-B2D8-3159663620FA}" type="slidenum">
              <a:rPr lang="en-US" smtClean="0"/>
              <a:pPr/>
              <a:t>21</a:t>
            </a:fld>
            <a:endParaRPr lang="en-US"/>
          </a:p>
        </p:txBody>
      </p:sp>
      <p:sp>
        <p:nvSpPr>
          <p:cNvPr id="5" name="Footer Placeholder 4"/>
          <p:cNvSpPr>
            <a:spLocks noGrp="1"/>
          </p:cNvSpPr>
          <p:nvPr>
            <p:ph type="ftr" sz="quarter" idx="4294967295"/>
          </p:nvPr>
        </p:nvSpPr>
        <p:spPr>
          <a:xfrm>
            <a:off x="0" y="6356350"/>
            <a:ext cx="4114800" cy="365125"/>
          </a:xfrm>
        </p:spPr>
        <p:txBody>
          <a:bodyPr/>
          <a:lstStyle/>
          <a:p>
            <a:pPr algn="l"/>
            <a:r>
              <a:rPr lang="en-US"/>
              <a:t>Illinois Perinatal Quality Collaborative</a:t>
            </a:r>
          </a:p>
        </p:txBody>
      </p:sp>
      <p:pic>
        <p:nvPicPr>
          <p:cNvPr id="11" name="Picture 10"/>
          <p:cNvPicPr>
            <a:picLocks noChangeAspect="1"/>
          </p:cNvPicPr>
          <p:nvPr/>
        </p:nvPicPr>
        <p:blipFill>
          <a:blip r:embed="rId2"/>
          <a:stretch>
            <a:fillRect/>
          </a:stretch>
        </p:blipFill>
        <p:spPr>
          <a:xfrm>
            <a:off x="3984690" y="245889"/>
            <a:ext cx="7631575" cy="6475586"/>
          </a:xfrm>
          <a:prstGeom prst="rect">
            <a:avLst/>
          </a:prstGeom>
        </p:spPr>
      </p:pic>
    </p:spTree>
    <p:extLst>
      <p:ext uri="{BB962C8B-B14F-4D97-AF65-F5344CB8AC3E}">
        <p14:creationId xmlns:p14="http://schemas.microsoft.com/office/powerpoint/2010/main" val="37788842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a:lstStyle/>
          <a:p>
            <a:r>
              <a:rPr lang="en-US">
                <a:ea typeface="Lato Medium"/>
                <a:cs typeface="Lato Medium"/>
              </a:rPr>
              <a:t>BASIC Sustainability Form </a:t>
            </a:r>
            <a:br>
              <a:rPr lang="en-US">
                <a:ea typeface="Lato Medium"/>
                <a:cs typeface="Lato Medium"/>
              </a:rPr>
            </a:br>
            <a:r>
              <a:rPr lang="en-US">
                <a:ea typeface="Lato Medium"/>
                <a:cs typeface="Lato Medium"/>
              </a:rPr>
              <a:t>Key Questions/Updates</a:t>
            </a:r>
            <a:endParaRPr lang="en-US"/>
          </a:p>
        </p:txBody>
      </p:sp>
      <p:sp>
        <p:nvSpPr>
          <p:cNvPr id="3" name="Content Placeholder 2"/>
          <p:cNvSpPr>
            <a:spLocks noGrp="1"/>
          </p:cNvSpPr>
          <p:nvPr>
            <p:ph idx="1"/>
          </p:nvPr>
        </p:nvSpPr>
        <p:spPr>
          <a:xfrm>
            <a:off x="609600" y="1825625"/>
            <a:ext cx="5480650" cy="4351338"/>
          </a:xfrm>
        </p:spPr>
        <p:txBody>
          <a:bodyPr vert="horz" lIns="91440" tIns="45720" rIns="91440" bIns="45720" rtlCol="0" anchor="t">
            <a:noAutofit/>
          </a:bodyPr>
          <a:lstStyle/>
          <a:p>
            <a:r>
              <a:rPr lang="en-US" b="1">
                <a:ea typeface="Lato"/>
                <a:cs typeface="Lato"/>
              </a:rPr>
              <a:t>Monthly Patient Data Form</a:t>
            </a:r>
          </a:p>
          <a:p>
            <a:pPr lvl="1"/>
            <a:r>
              <a:rPr lang="en-US">
                <a:ea typeface="Lato"/>
                <a:cs typeface="Lato"/>
              </a:rPr>
              <a:t>Collect data for only newborns </a:t>
            </a:r>
            <a:r>
              <a:rPr lang="en-US">
                <a:ea typeface="Lato"/>
                <a:cs typeface="Calibri"/>
              </a:rPr>
              <a:t>≥35 weeks</a:t>
            </a:r>
          </a:p>
          <a:p>
            <a:pPr lvl="1"/>
            <a:r>
              <a:rPr lang="en-US">
                <a:ea typeface="Lato"/>
                <a:cs typeface="Calibri"/>
              </a:rPr>
              <a:t>Option to continue collecting newborns &lt;35 week </a:t>
            </a:r>
          </a:p>
          <a:p>
            <a:r>
              <a:rPr lang="en-US" b="1" u="sng">
                <a:ea typeface="Lato"/>
                <a:cs typeface="Calibri"/>
              </a:rPr>
              <a:t>Questions to be removed:</a:t>
            </a:r>
            <a:endParaRPr lang="en-US" u="sng">
              <a:ea typeface="+mn-lt"/>
              <a:cs typeface="+mn-lt"/>
            </a:endParaRPr>
          </a:p>
          <a:p>
            <a:pPr lvl="1"/>
            <a:r>
              <a:rPr lang="en-US">
                <a:ea typeface="Lato"/>
                <a:cs typeface="Calibri"/>
              </a:rPr>
              <a:t>Zip code</a:t>
            </a:r>
            <a:endParaRPr lang="en-US">
              <a:ea typeface="+mn-lt"/>
              <a:cs typeface="+mn-lt"/>
            </a:endParaRPr>
          </a:p>
          <a:p>
            <a:pPr lvl="1"/>
            <a:r>
              <a:rPr lang="en-US">
                <a:ea typeface="Lato"/>
                <a:cs typeface="Calibri"/>
              </a:rPr>
              <a:t>Type of delivery</a:t>
            </a:r>
            <a:endParaRPr lang="en-US">
              <a:ea typeface="+mn-lt"/>
              <a:cs typeface="+mn-lt"/>
            </a:endParaRPr>
          </a:p>
          <a:p>
            <a:pPr lvl="1"/>
            <a:r>
              <a:rPr lang="en-US">
                <a:ea typeface="Lato"/>
                <a:cs typeface="Calibri"/>
              </a:rPr>
              <a:t>Presence of chorioamnionitis</a:t>
            </a:r>
            <a:endParaRPr lang="en-US"/>
          </a:p>
        </p:txBody>
      </p:sp>
      <p:sp>
        <p:nvSpPr>
          <p:cNvPr id="4" name="Slide Number Placeholder 3"/>
          <p:cNvSpPr>
            <a:spLocks noGrp="1"/>
          </p:cNvSpPr>
          <p:nvPr>
            <p:ph type="sldNum" sz="quarter" idx="10"/>
          </p:nvPr>
        </p:nvSpPr>
        <p:spPr/>
        <p:txBody>
          <a:bodyPr/>
          <a:lstStyle/>
          <a:p>
            <a:fld id="{97033E4B-E3EB-3D46-B2D8-3159663620FA}" type="slidenum">
              <a:rPr lang="en-US" smtClean="0"/>
              <a:pPr/>
              <a:t>22</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
        <p:nvSpPr>
          <p:cNvPr id="7" name="Content Placeholder 2">
            <a:extLst>
              <a:ext uri="{FF2B5EF4-FFF2-40B4-BE49-F238E27FC236}">
                <a16:creationId xmlns:a16="http://schemas.microsoft.com/office/drawing/2014/main" id="{B2E53348-5F9B-9F7B-2462-78AC6B78B431}"/>
              </a:ext>
            </a:extLst>
          </p:cNvPr>
          <p:cNvSpPr txBox="1">
            <a:spLocks/>
          </p:cNvSpPr>
          <p:nvPr/>
        </p:nvSpPr>
        <p:spPr>
          <a:xfrm>
            <a:off x="6096000" y="1776742"/>
            <a:ext cx="5480650" cy="4351338"/>
          </a:xfrm>
          <a:prstGeom prst="rect">
            <a:avLst/>
          </a:prstGeom>
        </p:spPr>
        <p:txBody>
          <a:bodyPr vert="horz" lIns="91440" tIns="45720" rIns="91440" bIns="45720" rtlCol="0" anchor="t">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00150" lvl="1" indent="-457200"/>
            <a:r>
              <a:rPr lang="en-US">
                <a:ea typeface="Lato"/>
                <a:cs typeface="Calibri"/>
              </a:rPr>
              <a:t>Maternal GBS status</a:t>
            </a:r>
            <a:endParaRPr lang="en-US">
              <a:ea typeface="+mn-lt"/>
              <a:cs typeface="+mn-lt"/>
            </a:endParaRPr>
          </a:p>
          <a:p>
            <a:pPr marL="1200150" lvl="1" indent="-457200"/>
            <a:r>
              <a:rPr lang="en-US">
                <a:ea typeface="Lato"/>
                <a:cs typeface="Calibri"/>
              </a:rPr>
              <a:t>Date/time BC draw</a:t>
            </a:r>
            <a:endParaRPr lang="en-US">
              <a:cs typeface="Calibri"/>
            </a:endParaRPr>
          </a:p>
          <a:p>
            <a:pPr marL="1200150" lvl="1" indent="-457200"/>
            <a:r>
              <a:rPr lang="en-US">
                <a:ea typeface="Lato"/>
                <a:cs typeface="Calibri"/>
              </a:rPr>
              <a:t>Type of antibiotics administered</a:t>
            </a:r>
            <a:endParaRPr lang="en-US">
              <a:cs typeface="Calibri"/>
            </a:endParaRPr>
          </a:p>
          <a:p>
            <a:pPr marL="1200150" lvl="1" indent="-457200"/>
            <a:r>
              <a:rPr lang="en-US">
                <a:ea typeface="Lato"/>
                <a:cs typeface="Calibri"/>
              </a:rPr>
              <a:t>Rationale for continuing antibiotics</a:t>
            </a:r>
            <a:endParaRPr lang="en-US">
              <a:cs typeface="Calibri"/>
            </a:endParaRPr>
          </a:p>
          <a:p>
            <a:pPr marL="1200150" lvl="1" indent="-457200"/>
            <a:r>
              <a:rPr lang="en-US">
                <a:ea typeface="Lato"/>
                <a:cs typeface="Calibri"/>
              </a:rPr>
              <a:t>How was family education provided</a:t>
            </a:r>
            <a:endParaRPr lang="en-US">
              <a:cs typeface="Calibri"/>
            </a:endParaRPr>
          </a:p>
          <a:p>
            <a:pPr>
              <a:buNone/>
            </a:pPr>
            <a:r>
              <a:rPr lang="en-US" b="1">
                <a:ea typeface="Lato"/>
                <a:cs typeface="Calibri"/>
              </a:rPr>
              <a:t>Monthly Structure Measure Data Form</a:t>
            </a:r>
            <a:endParaRPr lang="en-US">
              <a:ea typeface="Lato"/>
              <a:cs typeface="+mn-lt"/>
            </a:endParaRPr>
          </a:p>
          <a:p>
            <a:pPr marL="514350">
              <a:buFont typeface="Arial"/>
              <a:buChar char="•"/>
            </a:pPr>
            <a:r>
              <a:rPr lang="en-US">
                <a:ea typeface="Lato"/>
                <a:cs typeface="Calibri"/>
              </a:rPr>
              <a:t>Remove structure measures, continue to track denominators for antibiotic rate</a:t>
            </a:r>
            <a:endParaRPr lang="en-US">
              <a:cs typeface="Calibri"/>
            </a:endParaRPr>
          </a:p>
          <a:p>
            <a:pPr marL="514350">
              <a:buClr>
                <a:srgbClr val="F5668F"/>
              </a:buClr>
              <a:buFont typeface="Arial"/>
              <a:buChar char="•"/>
            </a:pPr>
            <a:endParaRPr lang="en-US">
              <a:cs typeface="Calibri"/>
            </a:endParaRPr>
          </a:p>
          <a:p>
            <a:pPr lvl="1" indent="0">
              <a:buClr>
                <a:srgbClr val="1C498B"/>
              </a:buClr>
              <a:buNone/>
            </a:pPr>
            <a:endParaRPr lang="en-US">
              <a:cs typeface="Calibri"/>
            </a:endParaRPr>
          </a:p>
        </p:txBody>
      </p:sp>
    </p:spTree>
    <p:extLst>
      <p:ext uri="{BB962C8B-B14F-4D97-AF65-F5344CB8AC3E}">
        <p14:creationId xmlns:p14="http://schemas.microsoft.com/office/powerpoint/2010/main" val="11564859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2A0957-91BB-5D79-D3B2-1C0041280B37}"/>
              </a:ext>
            </a:extLst>
          </p:cNvPr>
          <p:cNvSpPr>
            <a:spLocks noGrp="1"/>
          </p:cNvSpPr>
          <p:nvPr>
            <p:ph type="title"/>
          </p:nvPr>
        </p:nvSpPr>
        <p:spPr/>
        <p:txBody>
          <a:bodyPr/>
          <a:lstStyle/>
          <a:p>
            <a:r>
              <a:rPr lang="en-US" dirty="0">
                <a:ea typeface="Lato Medium"/>
                <a:cs typeface="Lato Medium"/>
              </a:rPr>
              <a:t>BASIC Team Talks</a:t>
            </a:r>
          </a:p>
        </p:txBody>
      </p:sp>
      <p:sp>
        <p:nvSpPr>
          <p:cNvPr id="3" name="Subtitle 2">
            <a:extLst>
              <a:ext uri="{FF2B5EF4-FFF2-40B4-BE49-F238E27FC236}">
                <a16:creationId xmlns:a16="http://schemas.microsoft.com/office/drawing/2014/main" id="{551C64BE-C849-5660-9145-4BF3DCEA78FC}"/>
              </a:ext>
            </a:extLst>
          </p:cNvPr>
          <p:cNvSpPr>
            <a:spLocks noGrp="1"/>
          </p:cNvSpPr>
          <p:nvPr>
            <p:ph type="subTitle" idx="1"/>
          </p:nvPr>
        </p:nvSpPr>
        <p:spPr/>
        <p:txBody>
          <a:bodyPr/>
          <a:lstStyle/>
          <a:p>
            <a:r>
              <a:rPr lang="en-US" dirty="0" smtClean="0"/>
              <a:t>Memorial Hospital Shiloh</a:t>
            </a:r>
          </a:p>
          <a:p>
            <a:r>
              <a:rPr lang="en-US" dirty="0" smtClean="0"/>
              <a:t>Rush University Children’s Hospital</a:t>
            </a:r>
            <a:endParaRPr lang="en-US" dirty="0"/>
          </a:p>
        </p:txBody>
      </p:sp>
    </p:spTree>
    <p:extLst>
      <p:ext uri="{BB962C8B-B14F-4D97-AF65-F5344CB8AC3E}">
        <p14:creationId xmlns:p14="http://schemas.microsoft.com/office/powerpoint/2010/main" val="719062502"/>
      </p:ext>
    </p:extLst>
  </p:cSld>
  <p:clrMapOvr>
    <a:masterClrMapping/>
  </p:clrMapOvr>
  <p:extLst mod="1">
    <p:ext uri="{6950BFC3-D8DA-4A85-94F7-54DA5524770B}">
      <p188:commentRel xmlns:p188="http://schemas.microsoft.com/office/powerpoint/2018/8/main" xmlns="" r:id="rId2"/>
    </p:ext>
  </p:extLst>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accent3">
            <a:lumMod val="40000"/>
            <a:lumOff val="6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6860D9-9D47-C0BB-B2B4-4B6F2B36CFCC}"/>
              </a:ext>
            </a:extLst>
          </p:cNvPr>
          <p:cNvSpPr>
            <a:spLocks noGrp="1"/>
          </p:cNvSpPr>
          <p:nvPr>
            <p:ph type="ctrTitle"/>
          </p:nvPr>
        </p:nvSpPr>
        <p:spPr>
          <a:xfrm>
            <a:off x="3163860" y="1463753"/>
            <a:ext cx="6103513" cy="1225296"/>
          </a:xfrm>
        </p:spPr>
        <p:txBody>
          <a:bodyPr/>
          <a:lstStyle/>
          <a:p>
            <a:r>
              <a:rPr lang="en-US" sz="4000" dirty="0"/>
              <a:t>MEMORIAL </a:t>
            </a:r>
            <a:r>
              <a:rPr lang="en-US" sz="4000" dirty="0" err="1" smtClean="0"/>
              <a:t>hOSPital</a:t>
            </a:r>
            <a:r>
              <a:rPr lang="en-US" sz="4000" dirty="0" smtClean="0"/>
              <a:t> - </a:t>
            </a:r>
            <a:r>
              <a:rPr lang="en-US" sz="4000" dirty="0" err="1" smtClean="0"/>
              <a:t>shiloh</a:t>
            </a:r>
            <a:r>
              <a:rPr lang="en-US" dirty="0"/>
              <a:t/>
            </a:r>
            <a:br>
              <a:rPr lang="en-US" dirty="0"/>
            </a:br>
            <a:endParaRPr lang="en-US" dirty="0"/>
          </a:p>
        </p:txBody>
      </p:sp>
      <p:sp>
        <p:nvSpPr>
          <p:cNvPr id="3" name="Subtitle 2">
            <a:extLst>
              <a:ext uri="{FF2B5EF4-FFF2-40B4-BE49-F238E27FC236}">
                <a16:creationId xmlns:a16="http://schemas.microsoft.com/office/drawing/2014/main" id="{86C1060B-300F-3CE3-E5AA-D8E29791C960}"/>
              </a:ext>
            </a:extLst>
          </p:cNvPr>
          <p:cNvSpPr>
            <a:spLocks noGrp="1"/>
          </p:cNvSpPr>
          <p:nvPr>
            <p:ph type="subTitle" idx="1"/>
          </p:nvPr>
        </p:nvSpPr>
        <p:spPr>
          <a:xfrm>
            <a:off x="4376077" y="3138306"/>
            <a:ext cx="3493008" cy="878908"/>
          </a:xfrm>
        </p:spPr>
        <p:txBody>
          <a:bodyPr vert="horz" lIns="0" tIns="0" rIns="0" bIns="0" rtlCol="0" anchor="t">
            <a:noAutofit/>
          </a:bodyPr>
          <a:lstStyle/>
          <a:p>
            <a:r>
              <a:rPr lang="en-US" dirty="0"/>
              <a:t>BJC </a:t>
            </a:r>
            <a:r>
              <a:rPr lang="en-US" dirty="0" smtClean="0"/>
              <a:t>Healthcare</a:t>
            </a:r>
          </a:p>
          <a:p>
            <a:r>
              <a:rPr lang="en-US" dirty="0" smtClean="0">
                <a:cs typeface="Sabon Next LT"/>
              </a:rPr>
              <a:t>Kelsey Dunning, BSN, RNC-LRN</a:t>
            </a:r>
            <a:endParaRPr lang="en-US" dirty="0">
              <a:cs typeface="Sabon Next LT"/>
            </a:endParaRPr>
          </a:p>
          <a:p>
            <a:endParaRPr lang="en-US" dirty="0"/>
          </a:p>
        </p:txBody>
      </p:sp>
    </p:spTree>
    <p:extLst>
      <p:ext uri="{BB962C8B-B14F-4D97-AF65-F5344CB8AC3E}">
        <p14:creationId xmlns:p14="http://schemas.microsoft.com/office/powerpoint/2010/main" val="24574479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C565E9-D88A-55D3-9D42-BD1C24B6DE9F}"/>
              </a:ext>
            </a:extLst>
          </p:cNvPr>
          <p:cNvSpPr>
            <a:spLocks noGrp="1"/>
          </p:cNvSpPr>
          <p:nvPr>
            <p:ph type="title"/>
          </p:nvPr>
        </p:nvSpPr>
        <p:spPr>
          <a:xfrm>
            <a:off x="337078" y="1628414"/>
            <a:ext cx="7881971" cy="914634"/>
          </a:xfrm>
        </p:spPr>
        <p:txBody>
          <a:bodyPr/>
          <a:lstStyle/>
          <a:p>
            <a:r>
              <a:rPr lang="en-US" dirty="0">
                <a:latin typeface="Arial Black"/>
                <a:ea typeface="Arial Regular"/>
                <a:cs typeface="Arial Black" panose="020B0604020202020204" pitchFamily="34" charset="0"/>
              </a:rPr>
              <a:t>Special Care Nursery</a:t>
            </a:r>
            <a:endParaRPr lang="en-US" sz="4400" b="1" dirty="0">
              <a:solidFill>
                <a:schemeClr val="accent6"/>
              </a:solidFill>
              <a:latin typeface="Arial Black" panose="020B0604020202020204" pitchFamily="34" charset="0"/>
              <a:cs typeface="Arial Black" panose="020B0604020202020204" pitchFamily="34" charset="0"/>
            </a:endParaRPr>
          </a:p>
        </p:txBody>
      </p:sp>
      <p:sp>
        <p:nvSpPr>
          <p:cNvPr id="3" name="Content Placeholder 2">
            <a:extLst>
              <a:ext uri="{FF2B5EF4-FFF2-40B4-BE49-F238E27FC236}">
                <a16:creationId xmlns:a16="http://schemas.microsoft.com/office/drawing/2014/main" id="{4D1F66E5-D2D7-172B-46BA-FEBFE092CC7F}"/>
              </a:ext>
            </a:extLst>
          </p:cNvPr>
          <p:cNvSpPr>
            <a:spLocks noGrp="1"/>
          </p:cNvSpPr>
          <p:nvPr>
            <p:ph idx="1"/>
          </p:nvPr>
        </p:nvSpPr>
        <p:spPr>
          <a:xfrm>
            <a:off x="874384" y="3102786"/>
            <a:ext cx="5693664" cy="3122168"/>
          </a:xfrm>
        </p:spPr>
        <p:txBody>
          <a:bodyPr vert="horz" lIns="91440" tIns="45720" rIns="91440" bIns="45720" rtlCol="0" anchor="t">
            <a:noAutofit/>
          </a:bodyPr>
          <a:lstStyle/>
          <a:p>
            <a:pPr marL="342900" indent="-342900">
              <a:buChar char="•"/>
            </a:pPr>
            <a:r>
              <a:rPr lang="en-US" dirty="0">
                <a:cs typeface="Sabon Next LT"/>
              </a:rPr>
              <a:t>Shiloh, IL</a:t>
            </a:r>
          </a:p>
          <a:p>
            <a:pPr marL="342900" indent="-342900">
              <a:buFont typeface="Arial,Sans-Serif" panose="020B0604020202020204" pitchFamily="34" charset="0"/>
              <a:buChar char="•"/>
            </a:pPr>
            <a:r>
              <a:rPr lang="en-US" dirty="0">
                <a:latin typeface="Sabon Next LT"/>
                <a:cs typeface="Arial"/>
              </a:rPr>
              <a:t>Level 2E – 12 Bed Unit</a:t>
            </a:r>
          </a:p>
          <a:p>
            <a:pPr marL="342900" indent="-342900">
              <a:buChar char="•"/>
            </a:pPr>
            <a:r>
              <a:rPr lang="en-US" dirty="0">
                <a:cs typeface="Sabon Next LT"/>
              </a:rPr>
              <a:t>16 LDRP Beds</a:t>
            </a:r>
          </a:p>
          <a:p>
            <a:pPr marL="342900" indent="-342900">
              <a:buChar char="•"/>
            </a:pPr>
            <a:r>
              <a:rPr lang="en-US" dirty="0">
                <a:cs typeface="Sabon Next LT"/>
              </a:rPr>
              <a:t>Average 1390 deliveries a year</a:t>
            </a:r>
            <a:endParaRPr lang="en-US" dirty="0"/>
          </a:p>
          <a:p>
            <a:r>
              <a:rPr lang="en-US" dirty="0"/>
              <a:t>​</a:t>
            </a:r>
            <a:endParaRPr lang="en-US" dirty="0">
              <a:cs typeface="Sabon Next LT"/>
            </a:endParaRPr>
          </a:p>
          <a:p>
            <a:endParaRPr lang="en-US" dirty="0"/>
          </a:p>
          <a:p>
            <a:r>
              <a:rPr lang="en-US" dirty="0"/>
              <a:t>​</a:t>
            </a:r>
            <a:endParaRPr lang="en-US" dirty="0">
              <a:cs typeface="Sabon Next LT"/>
            </a:endParaRPr>
          </a:p>
          <a:p>
            <a:endParaRPr lang="en-US" dirty="0"/>
          </a:p>
        </p:txBody>
      </p:sp>
    </p:spTree>
    <p:extLst>
      <p:ext uri="{BB962C8B-B14F-4D97-AF65-F5344CB8AC3E}">
        <p14:creationId xmlns:p14="http://schemas.microsoft.com/office/powerpoint/2010/main" val="29448148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8F5FD3-63DC-E793-1366-B1EB2A826AD6}"/>
              </a:ext>
            </a:extLst>
          </p:cNvPr>
          <p:cNvSpPr>
            <a:spLocks noGrp="1"/>
          </p:cNvSpPr>
          <p:nvPr>
            <p:ph type="title"/>
          </p:nvPr>
        </p:nvSpPr>
        <p:spPr>
          <a:xfrm>
            <a:off x="572882" y="285803"/>
            <a:ext cx="10671048" cy="768096"/>
          </a:xfrm>
        </p:spPr>
        <p:txBody>
          <a:bodyPr/>
          <a:lstStyle/>
          <a:p>
            <a:r>
              <a:rPr lang="en-US" dirty="0"/>
              <a:t>GOALS</a:t>
            </a:r>
          </a:p>
        </p:txBody>
      </p:sp>
      <p:sp>
        <p:nvSpPr>
          <p:cNvPr id="3" name="Content Placeholder 2">
            <a:extLst>
              <a:ext uri="{FF2B5EF4-FFF2-40B4-BE49-F238E27FC236}">
                <a16:creationId xmlns:a16="http://schemas.microsoft.com/office/drawing/2014/main" id="{15346176-3937-CF71-4A94-3D26D261406C}"/>
              </a:ext>
            </a:extLst>
          </p:cNvPr>
          <p:cNvSpPr>
            <a:spLocks noGrp="1"/>
          </p:cNvSpPr>
          <p:nvPr>
            <p:ph sz="half" idx="1"/>
          </p:nvPr>
        </p:nvSpPr>
        <p:spPr>
          <a:xfrm>
            <a:off x="291403" y="1234794"/>
            <a:ext cx="11606429" cy="5267723"/>
          </a:xfrm>
        </p:spPr>
        <p:txBody>
          <a:bodyPr vert="horz" lIns="91440" tIns="45720" rIns="91440" bIns="45720" rtlCol="0" anchor="t">
            <a:noAutofit/>
          </a:bodyPr>
          <a:lstStyle/>
          <a:p>
            <a:pPr marL="0" indent="0" algn="ctr">
              <a:buNone/>
            </a:pPr>
            <a:r>
              <a:rPr lang="en-US" sz="2000" dirty="0">
                <a:solidFill>
                  <a:srgbClr val="002060"/>
                </a:solidFill>
                <a:latin typeface="Calibri"/>
                <a:cs typeface="Calibri"/>
              </a:rPr>
              <a:t>Decrease by 20% (or absolute rate of 4%) the number of newborns, born at ≥35 weeks who receive antibiotics</a:t>
            </a:r>
            <a:endParaRPr lang="en-US" sz="2000" dirty="0">
              <a:cs typeface="Sabon Next LT"/>
            </a:endParaRPr>
          </a:p>
          <a:p>
            <a:pPr marL="347345" indent="-347345"/>
            <a:endParaRPr lang="en-US" dirty="0">
              <a:solidFill>
                <a:srgbClr val="002060"/>
              </a:solidFill>
              <a:latin typeface="Calibri"/>
              <a:cs typeface="Calibri"/>
            </a:endParaRPr>
          </a:p>
          <a:p>
            <a:pPr marL="347345" indent="-347345"/>
            <a:endParaRPr lang="en-US" dirty="0">
              <a:solidFill>
                <a:srgbClr val="002060"/>
              </a:solidFill>
              <a:latin typeface="Calibri"/>
              <a:cs typeface="Calibri"/>
            </a:endParaRPr>
          </a:p>
          <a:p>
            <a:pPr marL="347345" indent="-347345"/>
            <a:endParaRPr lang="en-US" dirty="0">
              <a:solidFill>
                <a:srgbClr val="002060"/>
              </a:solidFill>
              <a:latin typeface="Calibri"/>
              <a:cs typeface="Calibri"/>
            </a:endParaRPr>
          </a:p>
          <a:p>
            <a:pPr marL="347345" indent="-347345"/>
            <a:endParaRPr lang="en-US" dirty="0">
              <a:solidFill>
                <a:srgbClr val="002060"/>
              </a:solidFill>
              <a:latin typeface="Calibri"/>
              <a:cs typeface="Calibri"/>
            </a:endParaRPr>
          </a:p>
          <a:p>
            <a:pPr marL="347345" indent="-347345"/>
            <a:endParaRPr lang="en-US" dirty="0">
              <a:solidFill>
                <a:srgbClr val="002060"/>
              </a:solidFill>
              <a:latin typeface="Calibri"/>
              <a:cs typeface="Calibri"/>
            </a:endParaRPr>
          </a:p>
          <a:p>
            <a:pPr marL="347345" indent="-347345"/>
            <a:endParaRPr lang="en-US" dirty="0">
              <a:solidFill>
                <a:srgbClr val="002060"/>
              </a:solidFill>
              <a:latin typeface="Calibri"/>
              <a:cs typeface="Calibri"/>
            </a:endParaRPr>
          </a:p>
          <a:p>
            <a:pPr marL="347345" indent="-347345"/>
            <a:endParaRPr lang="en-US" dirty="0">
              <a:solidFill>
                <a:srgbClr val="002060"/>
              </a:solidFill>
              <a:latin typeface="Calibri"/>
              <a:cs typeface="Calibri"/>
            </a:endParaRPr>
          </a:p>
          <a:p>
            <a:pPr marL="0" indent="0">
              <a:buNone/>
            </a:pPr>
            <a:endParaRPr lang="en-US" dirty="0">
              <a:solidFill>
                <a:srgbClr val="1F2C8F"/>
              </a:solidFill>
              <a:latin typeface="Arial"/>
              <a:cs typeface="Arial"/>
            </a:endParaRPr>
          </a:p>
          <a:p>
            <a:pPr marL="347345" indent="-347345"/>
            <a:endParaRPr lang="en-US" dirty="0">
              <a:solidFill>
                <a:srgbClr val="002060"/>
              </a:solidFill>
              <a:latin typeface="Calibri"/>
              <a:cs typeface="Calibri"/>
            </a:endParaRPr>
          </a:p>
          <a:p>
            <a:pPr marL="347345" indent="-347345"/>
            <a:endParaRPr lang="en-US" dirty="0">
              <a:solidFill>
                <a:srgbClr val="002060"/>
              </a:solidFill>
              <a:latin typeface="Calibri"/>
              <a:cs typeface="Calibri"/>
            </a:endParaRPr>
          </a:p>
          <a:p>
            <a:pPr marL="347345" indent="-347345"/>
            <a:endParaRPr lang="en-US" dirty="0">
              <a:solidFill>
                <a:srgbClr val="002060"/>
              </a:solidFill>
              <a:latin typeface="Calibri"/>
              <a:cs typeface="Calibri"/>
            </a:endParaRPr>
          </a:p>
          <a:p>
            <a:pPr marL="347345" indent="-347345"/>
            <a:endParaRPr lang="en-US" dirty="0">
              <a:solidFill>
                <a:srgbClr val="002060"/>
              </a:solidFill>
              <a:latin typeface="Calibri"/>
              <a:cs typeface="Calibri"/>
            </a:endParaRPr>
          </a:p>
          <a:p>
            <a:pPr marL="347345" indent="-347345"/>
            <a:endParaRPr lang="en-US" dirty="0">
              <a:solidFill>
                <a:srgbClr val="002060"/>
              </a:solidFill>
              <a:latin typeface="Calibri"/>
              <a:cs typeface="Calibri"/>
            </a:endParaRPr>
          </a:p>
          <a:p>
            <a:pPr marL="347345" indent="-347345"/>
            <a:endParaRPr lang="en-US" dirty="0">
              <a:solidFill>
                <a:srgbClr val="002060"/>
              </a:solidFill>
              <a:latin typeface="Calibri"/>
              <a:cs typeface="Calibri"/>
            </a:endParaRPr>
          </a:p>
          <a:p>
            <a:pPr marL="347345" indent="-347345"/>
            <a:endParaRPr lang="en-US" dirty="0">
              <a:solidFill>
                <a:srgbClr val="002060"/>
              </a:solidFill>
              <a:latin typeface="Calibri"/>
              <a:cs typeface="Calibri"/>
            </a:endParaRPr>
          </a:p>
          <a:p>
            <a:pPr marL="347345" indent="-347345"/>
            <a:endParaRPr lang="en-US" dirty="0">
              <a:solidFill>
                <a:srgbClr val="002060"/>
              </a:solidFill>
              <a:latin typeface="Calibri"/>
              <a:cs typeface="Calibri"/>
            </a:endParaRPr>
          </a:p>
          <a:p>
            <a:pPr marL="347345" indent="-347345"/>
            <a:endParaRPr lang="en-US" dirty="0">
              <a:solidFill>
                <a:srgbClr val="1F2C8F"/>
              </a:solidFill>
              <a:latin typeface="Sabon Next LT"/>
              <a:cs typeface="Sabon Next LT"/>
            </a:endParaRPr>
          </a:p>
        </p:txBody>
      </p:sp>
      <p:sp>
        <p:nvSpPr>
          <p:cNvPr id="5" name="Slide Number Placeholder 4">
            <a:extLst>
              <a:ext uri="{FF2B5EF4-FFF2-40B4-BE49-F238E27FC236}">
                <a16:creationId xmlns:a16="http://schemas.microsoft.com/office/drawing/2014/main" id="{7C3F07DB-9F53-AA7D-E0E5-BC5EBCB8BBD2}"/>
              </a:ext>
            </a:extLst>
          </p:cNvPr>
          <p:cNvSpPr>
            <a:spLocks noGrp="1"/>
          </p:cNvSpPr>
          <p:nvPr>
            <p:ph type="sldNum" sz="quarter" idx="12"/>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48F63A3B-78C7-47BE-AE5E-E10140E04643}" type="slidenum">
              <a:rPr kumimoji="0" lang="en-US" sz="1200" b="0" i="0" u="none" strike="noStrike" kern="1200" cap="none" spc="0" normalizeH="0" baseline="0" noProof="0" dirty="0">
                <a:ln>
                  <a:noFill/>
                </a:ln>
                <a:solidFill>
                  <a:srgbClr val="1F2C8F"/>
                </a:solidFill>
                <a:effectLst/>
                <a:uLnTx/>
                <a:uFillTx/>
                <a:latin typeface="Arial" panose="020B0604020202020204" pitchFamily="34" charset="0"/>
                <a:ea typeface="+mn-ea"/>
                <a:cs typeface="Arial" panose="020B0604020202020204" pitchFamily="34" charset="0"/>
              </a:rPr>
              <a:pPr marL="0" marR="0" lvl="0" indent="0" algn="ct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srgbClr val="1F2C8F"/>
              </a:solidFill>
              <a:effectLst/>
              <a:uLnTx/>
              <a:uFillTx/>
              <a:latin typeface="Arial" panose="020B0604020202020204" pitchFamily="34" charset="0"/>
              <a:ea typeface="+mn-ea"/>
              <a:cs typeface="Arial" panose="020B0604020202020204" pitchFamily="34" charset="0"/>
            </a:endParaRPr>
          </a:p>
        </p:txBody>
      </p:sp>
      <p:pic>
        <p:nvPicPr>
          <p:cNvPr id="7" name="Picture 6" descr="A screenshot of a graph&#10;&#10;Description automatically generated">
            <a:extLst>
              <a:ext uri="{FF2B5EF4-FFF2-40B4-BE49-F238E27FC236}">
                <a16:creationId xmlns:a16="http://schemas.microsoft.com/office/drawing/2014/main" id="{48D62167-43C9-50C1-8476-2193436E6466}"/>
              </a:ext>
            </a:extLst>
          </p:cNvPr>
          <p:cNvPicPr>
            <a:picLocks noChangeAspect="1"/>
          </p:cNvPicPr>
          <p:nvPr/>
        </p:nvPicPr>
        <p:blipFill>
          <a:blip r:embed="rId2"/>
          <a:stretch>
            <a:fillRect/>
          </a:stretch>
        </p:blipFill>
        <p:spPr>
          <a:xfrm>
            <a:off x="994147" y="1892474"/>
            <a:ext cx="10442942" cy="3959096"/>
          </a:xfrm>
          <a:prstGeom prst="rect">
            <a:avLst/>
          </a:prstGeom>
        </p:spPr>
      </p:pic>
    </p:spTree>
    <p:extLst>
      <p:ext uri="{BB962C8B-B14F-4D97-AF65-F5344CB8AC3E}">
        <p14:creationId xmlns:p14="http://schemas.microsoft.com/office/powerpoint/2010/main" val="111660720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EAB152-B875-A66A-F6DF-37BFBE56A4A7}"/>
              </a:ext>
            </a:extLst>
          </p:cNvPr>
          <p:cNvSpPr>
            <a:spLocks noGrp="1"/>
          </p:cNvSpPr>
          <p:nvPr>
            <p:ph type="title"/>
          </p:nvPr>
        </p:nvSpPr>
        <p:spPr>
          <a:xfrm>
            <a:off x="839788" y="457200"/>
            <a:ext cx="3932237" cy="1600200"/>
          </a:xfrm>
        </p:spPr>
        <p:txBody>
          <a:bodyPr anchor="b">
            <a:normAutofit/>
          </a:bodyPr>
          <a:lstStyle/>
          <a:p>
            <a:r>
              <a:rPr lang="en-US" dirty="0"/>
              <a:t>GOALS</a:t>
            </a:r>
          </a:p>
        </p:txBody>
      </p:sp>
      <p:pic>
        <p:nvPicPr>
          <p:cNvPr id="4" name="Picture 3" descr="A screenshot of a calendar&#10;&#10;Description automatically generated">
            <a:extLst>
              <a:ext uri="{FF2B5EF4-FFF2-40B4-BE49-F238E27FC236}">
                <a16:creationId xmlns:a16="http://schemas.microsoft.com/office/drawing/2014/main" id="{3B2B1A43-F5ED-D9BB-A456-8272B72A21A3}"/>
              </a:ext>
            </a:extLst>
          </p:cNvPr>
          <p:cNvPicPr>
            <a:picLocks noChangeAspect="1"/>
          </p:cNvPicPr>
          <p:nvPr/>
        </p:nvPicPr>
        <p:blipFill>
          <a:blip r:embed="rId2"/>
          <a:stretch>
            <a:fillRect/>
          </a:stretch>
        </p:blipFill>
        <p:spPr>
          <a:xfrm>
            <a:off x="5183188" y="2637282"/>
            <a:ext cx="6172200" cy="3097911"/>
          </a:xfrm>
          <a:prstGeom prst="rect">
            <a:avLst/>
          </a:prstGeom>
          <a:noFill/>
        </p:spPr>
      </p:pic>
      <p:sp>
        <p:nvSpPr>
          <p:cNvPr id="3" name="Content Placeholder 2">
            <a:extLst>
              <a:ext uri="{FF2B5EF4-FFF2-40B4-BE49-F238E27FC236}">
                <a16:creationId xmlns:a16="http://schemas.microsoft.com/office/drawing/2014/main" id="{752B4402-1878-4C8B-822B-BE58BB9E63C9}"/>
              </a:ext>
            </a:extLst>
          </p:cNvPr>
          <p:cNvSpPr>
            <a:spLocks noGrp="1"/>
          </p:cNvSpPr>
          <p:nvPr>
            <p:ph type="body" sz="half" idx="2"/>
          </p:nvPr>
        </p:nvSpPr>
        <p:spPr>
          <a:xfrm>
            <a:off x="839788" y="2057400"/>
            <a:ext cx="3932237" cy="3811588"/>
          </a:xfrm>
        </p:spPr>
        <p:txBody>
          <a:bodyPr vert="horz" lIns="91440" tIns="45720" rIns="91440" bIns="45720" rtlCol="0">
            <a:normAutofit/>
          </a:bodyPr>
          <a:lstStyle/>
          <a:p>
            <a:pPr marL="0" indent="0">
              <a:buNone/>
            </a:pPr>
            <a:r>
              <a:rPr lang="en-US"/>
              <a:t>Decrease by 20% the number of newborns with a negative blood culture who receive antibiotics for longer than 36 hours</a:t>
            </a:r>
          </a:p>
        </p:txBody>
      </p:sp>
      <p:sp>
        <p:nvSpPr>
          <p:cNvPr id="9" name="Footer Placeholder 4">
            <a:extLst>
              <a:ext uri="{FF2B5EF4-FFF2-40B4-BE49-F238E27FC236}">
                <a16:creationId xmlns:a16="http://schemas.microsoft.com/office/drawing/2014/main" id="{F6D8F7FE-4AA7-A276-A78B-46AD0655F30A}"/>
              </a:ext>
            </a:extLst>
          </p:cNvPr>
          <p:cNvSpPr>
            <a:spLocks noGrp="1"/>
          </p:cNvSpPr>
          <p:nvPr>
            <p:ph type="ftr" sz="quarter" idx="11"/>
          </p:nvPr>
        </p:nvSpPr>
        <p:spPr>
          <a:xfrm>
            <a:off x="621792" y="457200"/>
            <a:ext cx="3200400" cy="274320"/>
          </a:xfrm>
        </p:spPr>
        <p:txBody>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1F2C8F"/>
                </a:solidFill>
                <a:effectLst/>
                <a:uLnTx/>
                <a:uFillTx/>
                <a:latin typeface="Arial" panose="020B0604020202020204" pitchFamily="34" charset="0"/>
                <a:ea typeface="+mn-ea"/>
                <a:cs typeface="Arial" panose="020B0604020202020204" pitchFamily="34" charset="0"/>
              </a:rPr>
              <a:t>Presentation title</a:t>
            </a:r>
          </a:p>
        </p:txBody>
      </p:sp>
      <p:sp>
        <p:nvSpPr>
          <p:cNvPr id="5" name="Slide Number Placeholder 4">
            <a:extLst>
              <a:ext uri="{FF2B5EF4-FFF2-40B4-BE49-F238E27FC236}">
                <a16:creationId xmlns:a16="http://schemas.microsoft.com/office/drawing/2014/main" id="{FC81EC70-0D45-F3A8-557A-6E55D4833FF6}"/>
              </a:ext>
            </a:extLst>
          </p:cNvPr>
          <p:cNvSpPr>
            <a:spLocks noGrp="1"/>
          </p:cNvSpPr>
          <p:nvPr>
            <p:ph type="sldNum" sz="quarter" idx="12"/>
          </p:nvPr>
        </p:nvSpPr>
        <p:spPr>
          <a:xfrm>
            <a:off x="10945368" y="457200"/>
            <a:ext cx="987552" cy="274320"/>
          </a:xfrm>
        </p:spPr>
        <p:txBody>
          <a:bodyPr anchor="ctr">
            <a:norm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fld id="{48F63A3B-78C7-47BE-AE5E-E10140E04643}" type="slidenum">
              <a:rPr kumimoji="0" lang="en-US" sz="1200" b="0" i="0" u="none" strike="noStrike" kern="1200" cap="none" spc="0" normalizeH="0" baseline="0" noProof="0" dirty="0">
                <a:ln>
                  <a:noFill/>
                </a:ln>
                <a:solidFill>
                  <a:srgbClr val="1F2C8F"/>
                </a:solidFill>
                <a:effectLst/>
                <a:uLnTx/>
                <a:uFillTx/>
                <a:latin typeface="Arial" panose="020B0604020202020204" pitchFamily="34" charset="0"/>
                <a:ea typeface="+mn-ea"/>
                <a:cs typeface="Arial" panose="020B0604020202020204" pitchFamily="34" charset="0"/>
              </a:rPr>
              <a:pPr marL="0" marR="0" lvl="0" indent="0" algn="ctr" defTabSz="457200" rtl="0" eaLnBrk="1" fontAlgn="auto" latinLnBrk="0" hangingPunct="1">
                <a:lnSpc>
                  <a:spcPct val="100000"/>
                </a:lnSpc>
                <a:spcBef>
                  <a:spcPts val="0"/>
                </a:spcBef>
                <a:spcAft>
                  <a:spcPts val="600"/>
                </a:spcAft>
                <a:buClrTx/>
                <a:buSzTx/>
                <a:buFontTx/>
                <a:buNone/>
                <a:tabLst/>
                <a:defRPr/>
              </a:pPr>
              <a:t>27</a:t>
            </a:fld>
            <a:endParaRPr kumimoji="0" lang="en-US" sz="1200" b="0" i="0" u="none" strike="noStrike" kern="1200" cap="none" spc="0" normalizeH="0" baseline="0" noProof="0">
              <a:ln>
                <a:noFill/>
              </a:ln>
              <a:solidFill>
                <a:srgbClr val="1F2C8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69416035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65E500-7FE3-D25E-210E-B878FA283A40}"/>
              </a:ext>
            </a:extLst>
          </p:cNvPr>
          <p:cNvSpPr>
            <a:spLocks noGrp="1"/>
          </p:cNvSpPr>
          <p:nvPr>
            <p:ph type="title"/>
          </p:nvPr>
        </p:nvSpPr>
        <p:spPr>
          <a:xfrm>
            <a:off x="758952" y="1216152"/>
            <a:ext cx="10671048" cy="768096"/>
          </a:xfrm>
        </p:spPr>
        <p:txBody>
          <a:bodyPr anchor="t">
            <a:normAutofit/>
          </a:bodyPr>
          <a:lstStyle/>
          <a:p>
            <a:r>
              <a:rPr lang="en-US" dirty="0"/>
              <a:t>HOW WE ACHIEVED</a:t>
            </a:r>
            <a:endParaRPr lang="en-US"/>
          </a:p>
        </p:txBody>
      </p:sp>
      <p:sp>
        <p:nvSpPr>
          <p:cNvPr id="12" name="Footer Placeholder 3">
            <a:extLst>
              <a:ext uri="{FF2B5EF4-FFF2-40B4-BE49-F238E27FC236}">
                <a16:creationId xmlns:a16="http://schemas.microsoft.com/office/drawing/2014/main" id="{35120C46-94CD-F824-B80F-BCEBCB3A3C60}"/>
              </a:ext>
            </a:extLst>
          </p:cNvPr>
          <p:cNvSpPr>
            <a:spLocks noGrp="1"/>
          </p:cNvSpPr>
          <p:nvPr>
            <p:ph type="ftr" sz="quarter" idx="11"/>
          </p:nvPr>
        </p:nvSpPr>
        <p:spPr>
          <a:xfrm>
            <a:off x="621792" y="457200"/>
            <a:ext cx="3200400" cy="274320"/>
          </a:xfrm>
        </p:spPr>
        <p:txBody>
          <a:bodyPr/>
          <a:lstStyle/>
          <a:p>
            <a:pPr marL="0" marR="0" lvl="0" indent="0" algn="l"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1F2C8F"/>
                </a:solidFill>
                <a:effectLst/>
                <a:uLnTx/>
                <a:uFillTx/>
                <a:latin typeface="Arial" panose="020B0604020202020204" pitchFamily="34" charset="0"/>
                <a:ea typeface="+mn-ea"/>
                <a:cs typeface="Arial" panose="020B0604020202020204" pitchFamily="34" charset="0"/>
              </a:rPr>
              <a:t>Presentation title</a:t>
            </a:r>
          </a:p>
        </p:txBody>
      </p:sp>
      <p:sp>
        <p:nvSpPr>
          <p:cNvPr id="5" name="Slide Number Placeholder 4">
            <a:extLst>
              <a:ext uri="{FF2B5EF4-FFF2-40B4-BE49-F238E27FC236}">
                <a16:creationId xmlns:a16="http://schemas.microsoft.com/office/drawing/2014/main" id="{0EBB8195-E146-D4D8-31C9-7764D45638DF}"/>
              </a:ext>
            </a:extLst>
          </p:cNvPr>
          <p:cNvSpPr>
            <a:spLocks noGrp="1"/>
          </p:cNvSpPr>
          <p:nvPr>
            <p:ph type="sldNum" sz="quarter" idx="12"/>
          </p:nvPr>
        </p:nvSpPr>
        <p:spPr>
          <a:xfrm>
            <a:off x="10945368" y="457200"/>
            <a:ext cx="987552" cy="274320"/>
          </a:xfrm>
        </p:spPr>
        <p:txBody>
          <a:bodyPr anchor="ctr">
            <a:norm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fld id="{48F63A3B-78C7-47BE-AE5E-E10140E04643}" type="slidenum">
              <a:rPr kumimoji="0" lang="en-US" sz="1200" b="0" i="0" u="none" strike="noStrike" kern="1200" cap="none" spc="0" normalizeH="0" baseline="0" noProof="0" dirty="0">
                <a:ln>
                  <a:noFill/>
                </a:ln>
                <a:solidFill>
                  <a:srgbClr val="1F2C8F"/>
                </a:solidFill>
                <a:effectLst/>
                <a:uLnTx/>
                <a:uFillTx/>
                <a:latin typeface="Arial" panose="020B0604020202020204" pitchFamily="34" charset="0"/>
                <a:ea typeface="+mn-ea"/>
                <a:cs typeface="Arial" panose="020B0604020202020204" pitchFamily="34" charset="0"/>
              </a:rPr>
              <a:pPr marL="0" marR="0" lvl="0" indent="0" algn="ctr" defTabSz="457200" rtl="0" eaLnBrk="1" fontAlgn="auto" latinLnBrk="0" hangingPunct="1">
                <a:lnSpc>
                  <a:spcPct val="100000"/>
                </a:lnSpc>
                <a:spcBef>
                  <a:spcPts val="0"/>
                </a:spcBef>
                <a:spcAft>
                  <a:spcPts val="600"/>
                </a:spcAft>
                <a:buClrTx/>
                <a:buSzTx/>
                <a:buFontTx/>
                <a:buNone/>
                <a:tabLst/>
                <a:defRPr/>
              </a:pPr>
              <a:t>28</a:t>
            </a:fld>
            <a:endParaRPr kumimoji="0" lang="en-US" sz="1200" b="0" i="0" u="none" strike="noStrike" kern="1200" cap="none" spc="0" normalizeH="0" baseline="0" noProof="0">
              <a:ln>
                <a:noFill/>
              </a:ln>
              <a:solidFill>
                <a:srgbClr val="1F2C8F"/>
              </a:solidFill>
              <a:effectLst/>
              <a:uLnTx/>
              <a:uFillTx/>
              <a:latin typeface="Arial" panose="020B0604020202020204" pitchFamily="34" charset="0"/>
              <a:ea typeface="+mn-ea"/>
              <a:cs typeface="Arial" panose="020B0604020202020204" pitchFamily="34" charset="0"/>
            </a:endParaRPr>
          </a:p>
        </p:txBody>
      </p:sp>
      <p:graphicFrame>
        <p:nvGraphicFramePr>
          <p:cNvPr id="7" name="Content Placeholder 2">
            <a:extLst>
              <a:ext uri="{FF2B5EF4-FFF2-40B4-BE49-F238E27FC236}">
                <a16:creationId xmlns:a16="http://schemas.microsoft.com/office/drawing/2014/main" id="{5DDC8C72-0F9F-8D0C-1590-04CA621E50A9}"/>
              </a:ext>
            </a:extLst>
          </p:cNvPr>
          <p:cNvGraphicFramePr>
            <a:graphicFrameLocks noGrp="1"/>
          </p:cNvGraphicFramePr>
          <p:nvPr>
            <p:ph sz="half" idx="1"/>
            <p:extLst/>
          </p:nvPr>
        </p:nvGraphicFramePr>
        <p:xfrm>
          <a:off x="539496" y="2103120"/>
          <a:ext cx="11119104" cy="443484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7057254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371CEB5-0F43-BA22-C4E7-3A84E631DA11}"/>
              </a:ext>
            </a:extLst>
          </p:cNvPr>
          <p:cNvSpPr>
            <a:spLocks noGrp="1"/>
          </p:cNvSpPr>
          <p:nvPr>
            <p:ph type="title"/>
          </p:nvPr>
        </p:nvSpPr>
        <p:spPr/>
        <p:txBody>
          <a:bodyPr/>
          <a:lstStyle/>
          <a:p>
            <a:r>
              <a:rPr lang="en-US" dirty="0"/>
              <a:t>NEW HIRE EDUCATION</a:t>
            </a:r>
          </a:p>
        </p:txBody>
      </p:sp>
      <p:sp>
        <p:nvSpPr>
          <p:cNvPr id="102" name="Slide Number Placeholder 101">
            <a:extLst>
              <a:ext uri="{FF2B5EF4-FFF2-40B4-BE49-F238E27FC236}">
                <a16:creationId xmlns:a16="http://schemas.microsoft.com/office/drawing/2014/main" id="{51BDF1B8-4D26-9C08-3102-6224AA6A4D20}"/>
              </a:ext>
            </a:extLst>
          </p:cNvPr>
          <p:cNvSpPr>
            <a:spLocks noGrp="1"/>
          </p:cNvSpPr>
          <p:nvPr>
            <p:ph type="sldNum" sz="quarter" idx="12"/>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48F63A3B-78C7-47BE-AE5E-E10140E04643}" type="slidenum">
              <a:rPr kumimoji="0" lang="en-US" sz="1200" b="0" i="0" u="none" strike="noStrike" kern="1200" cap="none" spc="0" normalizeH="0" baseline="0" noProof="0" smtClean="0">
                <a:ln>
                  <a:noFill/>
                </a:ln>
                <a:solidFill>
                  <a:srgbClr val="1F2C8F"/>
                </a:solidFill>
                <a:effectLst/>
                <a:uLnTx/>
                <a:uFillTx/>
                <a:latin typeface="Arial" panose="020B0604020202020204" pitchFamily="34" charset="0"/>
                <a:ea typeface="+mn-ea"/>
                <a:cs typeface="Arial" panose="020B0604020202020204" pitchFamily="34" charset="0"/>
              </a:rPr>
              <a:pPr marL="0" marR="0" lvl="0" indent="0" algn="ctr" defTabSz="4572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dirty="0">
              <a:ln>
                <a:noFill/>
              </a:ln>
              <a:solidFill>
                <a:srgbClr val="1F2C8F"/>
              </a:solidFill>
              <a:effectLst/>
              <a:uLnTx/>
              <a:uFillTx/>
              <a:latin typeface="Arial" panose="020B0604020202020204" pitchFamily="34" charset="0"/>
              <a:ea typeface="+mn-ea"/>
              <a:cs typeface="Arial" panose="020B0604020202020204" pitchFamily="34" charset="0"/>
            </a:endParaRPr>
          </a:p>
        </p:txBody>
      </p:sp>
      <p:sp>
        <p:nvSpPr>
          <p:cNvPr id="2" name="Text Placeholder 1">
            <a:extLst>
              <a:ext uri="{FF2B5EF4-FFF2-40B4-BE49-F238E27FC236}">
                <a16:creationId xmlns:a16="http://schemas.microsoft.com/office/drawing/2014/main" id="{5FC63C25-FE2A-0C11-2CEA-A80AA78FC365}"/>
              </a:ext>
            </a:extLst>
          </p:cNvPr>
          <p:cNvSpPr>
            <a:spLocks noGrp="1"/>
          </p:cNvSpPr>
          <p:nvPr>
            <p:ph type="body" idx="1"/>
          </p:nvPr>
        </p:nvSpPr>
        <p:spPr/>
        <p:txBody>
          <a:bodyPr/>
          <a:lstStyle/>
          <a:p>
            <a:r>
              <a:rPr lang="en-US" dirty="0">
                <a:latin typeface="Arial"/>
                <a:cs typeface="Arial"/>
              </a:rPr>
              <a:t>PHYSICIAN</a:t>
            </a:r>
            <a:endParaRPr lang="en-US" dirty="0"/>
          </a:p>
        </p:txBody>
      </p:sp>
      <p:sp>
        <p:nvSpPr>
          <p:cNvPr id="6" name="Text Placeholder 5">
            <a:extLst>
              <a:ext uri="{FF2B5EF4-FFF2-40B4-BE49-F238E27FC236}">
                <a16:creationId xmlns:a16="http://schemas.microsoft.com/office/drawing/2014/main" id="{5AD6749A-51D8-599C-7C31-9922CF228D32}"/>
              </a:ext>
            </a:extLst>
          </p:cNvPr>
          <p:cNvSpPr>
            <a:spLocks noGrp="1"/>
          </p:cNvSpPr>
          <p:nvPr>
            <p:ph type="body" sz="quarter" idx="18"/>
          </p:nvPr>
        </p:nvSpPr>
        <p:spPr/>
        <p:txBody>
          <a:bodyPr/>
          <a:lstStyle/>
          <a:p>
            <a:pPr marL="347345" indent="-347345"/>
            <a:r>
              <a:rPr lang="en-US" dirty="0"/>
              <a:t>Basic 1-Pager</a:t>
            </a:r>
            <a:endParaRPr lang="en-US" dirty="0">
              <a:cs typeface="Sabon Next LT"/>
            </a:endParaRPr>
          </a:p>
          <a:p>
            <a:pPr marL="347345" indent="-347345"/>
            <a:r>
              <a:rPr lang="en-US" dirty="0"/>
              <a:t>Newborn Sepsis Policy</a:t>
            </a:r>
            <a:endParaRPr lang="en-US" dirty="0">
              <a:cs typeface="Sabon Next LT"/>
            </a:endParaRPr>
          </a:p>
          <a:p>
            <a:pPr marL="347345" indent="-347345"/>
            <a:endParaRPr lang="en-US" dirty="0">
              <a:cs typeface="Sabon Next LT"/>
            </a:endParaRPr>
          </a:p>
        </p:txBody>
      </p:sp>
      <p:sp>
        <p:nvSpPr>
          <p:cNvPr id="3" name="Text Placeholder 2">
            <a:extLst>
              <a:ext uri="{FF2B5EF4-FFF2-40B4-BE49-F238E27FC236}">
                <a16:creationId xmlns:a16="http://schemas.microsoft.com/office/drawing/2014/main" id="{A8753AB0-02A6-E89E-7E23-593DBF52F4E8}"/>
              </a:ext>
            </a:extLst>
          </p:cNvPr>
          <p:cNvSpPr>
            <a:spLocks noGrp="1"/>
          </p:cNvSpPr>
          <p:nvPr>
            <p:ph type="body" sz="quarter" idx="15"/>
          </p:nvPr>
        </p:nvSpPr>
        <p:spPr/>
        <p:txBody>
          <a:bodyPr/>
          <a:lstStyle/>
          <a:p>
            <a:r>
              <a:rPr lang="en-US" dirty="0">
                <a:latin typeface="Arial"/>
                <a:cs typeface="Arial"/>
              </a:rPr>
              <a:t>Nurse</a:t>
            </a:r>
            <a:endParaRPr lang="en-US" dirty="0"/>
          </a:p>
        </p:txBody>
      </p:sp>
      <p:pic>
        <p:nvPicPr>
          <p:cNvPr id="76" name="Picture Placeholder 75" descr="increasing chart icon">
            <a:extLst>
              <a:ext uri="{FF2B5EF4-FFF2-40B4-BE49-F238E27FC236}">
                <a16:creationId xmlns:a16="http://schemas.microsoft.com/office/drawing/2014/main" id="{7541E72A-A0CB-A011-55A9-1126F707D889}"/>
              </a:ext>
            </a:extLst>
          </p:cNvPr>
          <p:cNvPicPr>
            <a:picLocks noGrp="1" noChangeAspect="1"/>
          </p:cNvPicPr>
          <p:nvPr>
            <p:ph type="pic" sz="quarter" idx="25"/>
          </p:nvPr>
        </p:nvPicPr>
        <p:blipFill rotWithShape="1">
          <a:blip r:embed="rId2"/>
          <a:srcRect/>
          <a:stretch/>
        </p:blipFill>
        <p:spPr/>
      </p:pic>
      <p:sp>
        <p:nvSpPr>
          <p:cNvPr id="7" name="Text Placeholder 6">
            <a:extLst>
              <a:ext uri="{FF2B5EF4-FFF2-40B4-BE49-F238E27FC236}">
                <a16:creationId xmlns:a16="http://schemas.microsoft.com/office/drawing/2014/main" id="{0BF56CE2-ADEB-1E22-50FB-9F2AB3786483}"/>
              </a:ext>
            </a:extLst>
          </p:cNvPr>
          <p:cNvSpPr>
            <a:spLocks noGrp="1"/>
          </p:cNvSpPr>
          <p:nvPr>
            <p:ph type="body" sz="quarter" idx="21"/>
          </p:nvPr>
        </p:nvSpPr>
        <p:spPr/>
        <p:txBody>
          <a:bodyPr/>
          <a:lstStyle/>
          <a:p>
            <a:pPr marL="347345" indent="-347345"/>
            <a:r>
              <a:rPr lang="en-US" dirty="0">
                <a:latin typeface="Sabon Next LT"/>
                <a:cs typeface="Arial"/>
              </a:rPr>
              <a:t>Basic 1-Pager in new hire folder</a:t>
            </a:r>
          </a:p>
          <a:p>
            <a:pPr marL="347345" indent="-347345"/>
            <a:r>
              <a:rPr lang="en-US" dirty="0">
                <a:latin typeface="Sabon Next LT"/>
                <a:cs typeface="Arial"/>
              </a:rPr>
              <a:t>Newborn Sepsis Policy included in orientation checklist to review</a:t>
            </a:r>
            <a:endParaRPr lang="en-US" dirty="0">
              <a:latin typeface="Sabon Next LT"/>
            </a:endParaRPr>
          </a:p>
          <a:p>
            <a:pPr marL="347345" indent="-347345"/>
            <a:endParaRPr lang="en-US" dirty="0">
              <a:cs typeface="Sabon Next LT"/>
            </a:endParaRPr>
          </a:p>
        </p:txBody>
      </p:sp>
      <p:sp>
        <p:nvSpPr>
          <p:cNvPr id="4" name="Text Placeholder 3">
            <a:extLst>
              <a:ext uri="{FF2B5EF4-FFF2-40B4-BE49-F238E27FC236}">
                <a16:creationId xmlns:a16="http://schemas.microsoft.com/office/drawing/2014/main" id="{03745CA7-A767-9133-8871-800B16D5D722}"/>
              </a:ext>
            </a:extLst>
          </p:cNvPr>
          <p:cNvSpPr>
            <a:spLocks noGrp="1"/>
          </p:cNvSpPr>
          <p:nvPr>
            <p:ph type="body" sz="quarter" idx="17"/>
          </p:nvPr>
        </p:nvSpPr>
        <p:spPr/>
        <p:txBody>
          <a:bodyPr/>
          <a:lstStyle/>
          <a:p>
            <a:r>
              <a:rPr lang="en-US" altLang="zh-CN" dirty="0">
                <a:latin typeface="Arial"/>
                <a:cs typeface="Arial"/>
              </a:rPr>
              <a:t>Pharmacy</a:t>
            </a:r>
            <a:endParaRPr lang="en-US" altLang="zh-CN" dirty="0"/>
          </a:p>
        </p:txBody>
      </p:sp>
      <p:sp>
        <p:nvSpPr>
          <p:cNvPr id="8" name="Text Placeholder 7">
            <a:extLst>
              <a:ext uri="{FF2B5EF4-FFF2-40B4-BE49-F238E27FC236}">
                <a16:creationId xmlns:a16="http://schemas.microsoft.com/office/drawing/2014/main" id="{7063C991-877C-CD1D-A03D-547E04121FE0}"/>
              </a:ext>
            </a:extLst>
          </p:cNvPr>
          <p:cNvSpPr>
            <a:spLocks noGrp="1"/>
          </p:cNvSpPr>
          <p:nvPr>
            <p:ph type="body" sz="quarter" idx="22"/>
          </p:nvPr>
        </p:nvSpPr>
        <p:spPr/>
        <p:txBody>
          <a:bodyPr/>
          <a:lstStyle/>
          <a:p>
            <a:pPr marL="347345" indent="-347345"/>
            <a:r>
              <a:rPr lang="en-US" dirty="0">
                <a:cs typeface="Sabon Next LT"/>
              </a:rPr>
              <a:t>Empiric Antibiotic Dosing chart for Neonatal EOS</a:t>
            </a:r>
          </a:p>
          <a:p>
            <a:pPr marL="347345" indent="-347345"/>
            <a:r>
              <a:rPr lang="en-US" dirty="0">
                <a:cs typeface="Sabon Next LT"/>
              </a:rPr>
              <a:t>Newborn Sepsis Policy</a:t>
            </a:r>
          </a:p>
          <a:p>
            <a:pPr marL="347345" indent="-347345"/>
            <a:endParaRPr lang="en-US" dirty="0">
              <a:cs typeface="Sabon Next LT"/>
            </a:endParaRPr>
          </a:p>
          <a:p>
            <a:pPr marL="347345" indent="-347345"/>
            <a:endParaRPr lang="en-US" dirty="0">
              <a:cs typeface="Sabon Next LT"/>
            </a:endParaRPr>
          </a:p>
        </p:txBody>
      </p:sp>
      <p:pic>
        <p:nvPicPr>
          <p:cNvPr id="13" name="Picture Placeholder 75" descr="increasing chart icon">
            <a:extLst>
              <a:ext uri="{FF2B5EF4-FFF2-40B4-BE49-F238E27FC236}">
                <a16:creationId xmlns:a16="http://schemas.microsoft.com/office/drawing/2014/main" id="{5C135181-D182-0F44-EF73-B3891CBC4042}"/>
              </a:ext>
            </a:extLst>
          </p:cNvPr>
          <p:cNvPicPr>
            <a:picLocks noChangeAspect="1"/>
          </p:cNvPicPr>
          <p:nvPr/>
        </p:nvPicPr>
        <p:blipFill rotWithShape="1">
          <a:blip r:embed="rId2"/>
          <a:srcRect/>
          <a:stretch/>
        </p:blipFill>
        <p:spPr>
          <a:xfrm>
            <a:off x="1852168" y="2278888"/>
            <a:ext cx="932688" cy="932688"/>
          </a:xfrm>
          <a:prstGeom prst="ellipse">
            <a:avLst/>
          </a:prstGeom>
          <a:solidFill>
            <a:schemeClr val="accent1"/>
          </a:solidFill>
          <a:ln>
            <a:solidFill>
              <a:srgbClr val="AAC4E9"/>
            </a:solidFill>
          </a:ln>
        </p:spPr>
      </p:pic>
      <p:pic>
        <p:nvPicPr>
          <p:cNvPr id="12" name="Picture Placeholder 75" descr="increasing chart icon">
            <a:extLst>
              <a:ext uri="{FF2B5EF4-FFF2-40B4-BE49-F238E27FC236}">
                <a16:creationId xmlns:a16="http://schemas.microsoft.com/office/drawing/2014/main" id="{2106EFB7-242C-4D9E-5DB7-DA69D8739944}"/>
              </a:ext>
            </a:extLst>
          </p:cNvPr>
          <p:cNvPicPr>
            <a:picLocks noChangeAspect="1"/>
          </p:cNvPicPr>
          <p:nvPr/>
        </p:nvPicPr>
        <p:blipFill rotWithShape="1">
          <a:blip r:embed="rId2"/>
          <a:srcRect/>
          <a:stretch/>
        </p:blipFill>
        <p:spPr>
          <a:xfrm>
            <a:off x="9203710" y="2254660"/>
            <a:ext cx="932688" cy="932688"/>
          </a:xfrm>
          <a:prstGeom prst="ellipse">
            <a:avLst/>
          </a:prstGeom>
          <a:solidFill>
            <a:schemeClr val="accent1"/>
          </a:solidFill>
        </p:spPr>
      </p:pic>
    </p:spTree>
    <p:extLst>
      <p:ext uri="{BB962C8B-B14F-4D97-AF65-F5344CB8AC3E}">
        <p14:creationId xmlns:p14="http://schemas.microsoft.com/office/powerpoint/2010/main" val="5356425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367"/>
        <p:cNvGrpSpPr/>
        <p:nvPr/>
      </p:nvGrpSpPr>
      <p:grpSpPr>
        <a:xfrm>
          <a:off x="0" y="0"/>
          <a:ext cx="0" cy="0"/>
          <a:chOff x="0" y="0"/>
          <a:chExt cx="0" cy="0"/>
        </a:xfrm>
      </p:grpSpPr>
      <p:sp>
        <p:nvSpPr>
          <p:cNvPr id="370" name="Google Shape;370;p16"/>
          <p:cNvSpPr txBox="1">
            <a:spLocks noGrp="1"/>
          </p:cNvSpPr>
          <p:nvPr>
            <p:ph type="sldNum" sz="quarter" idx="4294967295"/>
          </p:nvPr>
        </p:nvSpPr>
        <p:spPr>
          <a:xfrm>
            <a:off x="8839200" y="6356350"/>
            <a:ext cx="2743200" cy="365125"/>
          </a:xfrm>
          <a:prstGeom prst="rect">
            <a:avLst/>
          </a:prstGeom>
          <a:noFill/>
          <a:ln>
            <a:noFill/>
          </a:ln>
        </p:spPr>
        <p:txBody>
          <a:bodyPr spcFirstLastPara="1" vert="horz" wrap="square" lIns="91440" tIns="45720" rIns="91440" bIns="45720" rtlCol="0" anchor="ctr" anchorCtr="0">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
                <a:srgbClr val="AEB3B7"/>
              </a:buClr>
              <a:buSzPts val="1200"/>
              <a:buFont typeface="Calibri"/>
              <a:buNone/>
              <a:tabLst/>
              <a:defRPr/>
            </a:pPr>
            <a:fld id="{97033E4B-E3EB-3D46-B2D8-3159663620FA}"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
                  <a:srgbClr val="AEB3B7"/>
                </a:buClr>
                <a:buSzPts val="1200"/>
                <a:buFont typeface="Calibri"/>
                <a:buNone/>
                <a:tabLst/>
                <a:defRPr/>
              </a:pPr>
              <a:t>3</a:t>
            </a:fld>
            <a:endParaRPr kumimoji="0" sz="1200" b="0" i="0" u="none" strike="noStrike" kern="0" cap="none" spc="0" normalizeH="0" baseline="0" noProof="0">
              <a:ln>
                <a:noFill/>
              </a:ln>
              <a:solidFill>
                <a:srgbClr val="AEB3B7"/>
              </a:solidFill>
              <a:effectLst/>
              <a:uLnTx/>
              <a:uFillTx/>
              <a:latin typeface="Calibri"/>
              <a:ea typeface="Calibri"/>
              <a:cs typeface="Calibri"/>
              <a:sym typeface="Calibri"/>
            </a:endParaRPr>
          </a:p>
        </p:txBody>
      </p:sp>
      <p:sp>
        <p:nvSpPr>
          <p:cNvPr id="371" name="Google Shape;371;p16"/>
          <p:cNvSpPr txBox="1">
            <a:spLocks noGrp="1"/>
          </p:cNvSpPr>
          <p:nvPr>
            <p:ph type="ftr" sz="quarter" idx="4294967295"/>
          </p:nvPr>
        </p:nvSpPr>
        <p:spPr>
          <a:xfrm>
            <a:off x="609600" y="6356350"/>
            <a:ext cx="4114800" cy="365125"/>
          </a:xfrm>
          <a:prstGeom prst="rect">
            <a:avLst/>
          </a:prstGeom>
          <a:noFill/>
          <a:ln>
            <a:noFill/>
          </a:ln>
        </p:spPr>
        <p:txBody>
          <a:bodyPr spcFirstLastPara="1" vert="horz" wrap="square" lIns="91440" tIns="45720" rIns="91440" bIns="45720" rtlCol="0" anchor="ctr" anchorCtr="0">
            <a:noAutofit/>
          </a:bodyP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919497"/>
              </a:buClr>
              <a:buSzPts val="1200"/>
              <a:buFont typeface="Calibri"/>
              <a:buNone/>
              <a:tabLst/>
              <a:defRPr/>
            </a:pPr>
            <a:r>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t>Illinois Perinatal Quality Collaborative</a:t>
            </a:r>
            <a:endParaRPr kumimoji="0" sz="1200" b="0" i="0" u="none" strike="noStrike" kern="0" cap="none" spc="0" normalizeH="0" baseline="0" noProof="0">
              <a:ln>
                <a:noFill/>
              </a:ln>
              <a:solidFill>
                <a:srgbClr val="919497"/>
              </a:solidFill>
              <a:effectLst/>
              <a:uLnTx/>
              <a:uFillTx/>
              <a:latin typeface="Calibri"/>
              <a:ea typeface="+mn-ea"/>
              <a:cs typeface="Calibri"/>
              <a:sym typeface="Calibri"/>
            </a:endParaRPr>
          </a:p>
        </p:txBody>
      </p:sp>
      <p:sp>
        <p:nvSpPr>
          <p:cNvPr id="368" name="Google Shape;368;p16"/>
          <p:cNvSpPr txBox="1">
            <a:spLocks noGrp="1"/>
          </p:cNvSpPr>
          <p:nvPr>
            <p:ph type="title" idx="4294967295"/>
          </p:nvPr>
        </p:nvSpPr>
        <p:spPr>
          <a:xfrm>
            <a:off x="7629651" y="2218467"/>
            <a:ext cx="3740990" cy="1325562"/>
          </a:xfrm>
          <a:prstGeom prst="rect">
            <a:avLst/>
          </a:prstGeom>
          <a:noFill/>
          <a:ln>
            <a:noFill/>
          </a:ln>
        </p:spPr>
        <p:txBody>
          <a:bodyPr spcFirstLastPara="1" wrap="square" lIns="91425" tIns="45700" rIns="91425" bIns="45700" anchor="ctr" anchorCtr="0">
            <a:normAutofit fontScale="90000"/>
          </a:bodyPr>
          <a:lstStyle/>
          <a:p>
            <a:pPr algn="ctr">
              <a:spcBef>
                <a:spcPts val="0"/>
              </a:spcBef>
              <a:buClr>
                <a:schemeClr val="accent1"/>
              </a:buClr>
              <a:buSzPts val="4000"/>
            </a:pPr>
            <a:r>
              <a:rPr lang="en-US" sz="4400">
                <a:ea typeface="Lato Medium"/>
                <a:cs typeface="Lato Medium"/>
              </a:rPr>
              <a:t>Registration </a:t>
            </a:r>
            <a:br>
              <a:rPr lang="en-US" sz="4400">
                <a:ea typeface="Lato Medium"/>
                <a:cs typeface="Lato Medium"/>
              </a:rPr>
            </a:br>
            <a:r>
              <a:rPr lang="en-US" sz="4400">
                <a:ea typeface="Lato Medium"/>
                <a:cs typeface="Lato Medium"/>
              </a:rPr>
              <a:t>Coming Soon!</a:t>
            </a:r>
          </a:p>
        </p:txBody>
      </p:sp>
      <p:pic>
        <p:nvPicPr>
          <p:cNvPr id="4" name="Picture 4" descr="A yellow square with blue text&#10;&#10;Description automatically generated">
            <a:extLst>
              <a:ext uri="{FF2B5EF4-FFF2-40B4-BE49-F238E27FC236}">
                <a16:creationId xmlns:a16="http://schemas.microsoft.com/office/drawing/2014/main" id="{FCCD6B02-C7B8-D342-3A35-E8E47140B9DF}"/>
              </a:ext>
            </a:extLst>
          </p:cNvPr>
          <p:cNvPicPr>
            <a:picLocks noChangeAspect="1"/>
          </p:cNvPicPr>
          <p:nvPr/>
        </p:nvPicPr>
        <p:blipFill>
          <a:blip r:embed="rId3"/>
          <a:stretch>
            <a:fillRect/>
          </a:stretch>
        </p:blipFill>
        <p:spPr>
          <a:xfrm>
            <a:off x="713117" y="83750"/>
            <a:ext cx="6107501" cy="6273557"/>
          </a:xfrm>
          <a:prstGeom prst="rect">
            <a:avLst/>
          </a:prstGeom>
        </p:spPr>
      </p:pic>
      <p:sp>
        <p:nvSpPr>
          <p:cNvPr id="6" name="Google Shape;368;p16">
            <a:extLst>
              <a:ext uri="{FF2B5EF4-FFF2-40B4-BE49-F238E27FC236}">
                <a16:creationId xmlns:a16="http://schemas.microsoft.com/office/drawing/2014/main" id="{4861B0C5-5C0A-19EB-150E-E95303EA0BBC}"/>
              </a:ext>
            </a:extLst>
          </p:cNvPr>
          <p:cNvSpPr txBox="1">
            <a:spLocks/>
          </p:cNvSpPr>
          <p:nvPr/>
        </p:nvSpPr>
        <p:spPr>
          <a:xfrm>
            <a:off x="7293220" y="4110527"/>
            <a:ext cx="4402346" cy="1325562"/>
          </a:xfrm>
          <a:prstGeom prst="rect">
            <a:avLst/>
          </a:prstGeom>
          <a:noFill/>
          <a:ln>
            <a:noFill/>
          </a:ln>
        </p:spPr>
        <p:txBody>
          <a:bodyPr spcFirstLastPara="1" vert="horz" wrap="square" lIns="91425" tIns="45700" rIns="91425" bIns="45700" rtlCol="0" anchor="ctr" anchorCtr="0">
            <a:noAutofit/>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pPr algn="ctr"/>
            <a:r>
              <a:rPr lang="en-US" sz="2600">
                <a:ea typeface="Lato Medium"/>
                <a:cs typeface="Lato Medium"/>
              </a:rPr>
              <a:t>The Westin Chicago Lombard</a:t>
            </a:r>
            <a:endParaRPr lang="en-US" sz="2600"/>
          </a:p>
          <a:p>
            <a:pPr algn="ctr">
              <a:spcBef>
                <a:spcPts val="0"/>
              </a:spcBef>
            </a:pPr>
            <a:r>
              <a:rPr lang="en-US" sz="2600">
                <a:ea typeface="Lato Medium"/>
                <a:cs typeface="Lato Medium"/>
              </a:rPr>
              <a:t>Hotel Room Block</a:t>
            </a:r>
            <a:br>
              <a:rPr lang="en-US" sz="2600">
                <a:ea typeface="Lato Medium"/>
                <a:cs typeface="Lato Medium"/>
              </a:rPr>
            </a:br>
            <a:r>
              <a:rPr lang="en-US" sz="2600">
                <a:ea typeface="Lato Medium"/>
                <a:cs typeface="Lato Medium"/>
              </a:rPr>
              <a:t>Coming Soon!</a:t>
            </a:r>
            <a:endParaRPr lang="en-US" sz="2600"/>
          </a:p>
        </p:txBody>
      </p:sp>
    </p:spTree>
    <p:extLst>
      <p:ext uri="{BB962C8B-B14F-4D97-AF65-F5344CB8AC3E}">
        <p14:creationId xmlns:p14="http://schemas.microsoft.com/office/powerpoint/2010/main" val="257332884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B309B0-6209-D3D0-9D5E-308B9F6E7303}"/>
              </a:ext>
            </a:extLst>
          </p:cNvPr>
          <p:cNvSpPr>
            <a:spLocks noGrp="1"/>
          </p:cNvSpPr>
          <p:nvPr>
            <p:ph type="title"/>
          </p:nvPr>
        </p:nvSpPr>
        <p:spPr/>
        <p:txBody>
          <a:bodyPr/>
          <a:lstStyle/>
          <a:p>
            <a:r>
              <a:rPr lang="en-US" dirty="0"/>
              <a:t>Moving forward</a:t>
            </a:r>
            <a:br>
              <a:rPr lang="en-US" dirty="0"/>
            </a:br>
            <a:endParaRPr lang="en-US"/>
          </a:p>
        </p:txBody>
      </p:sp>
      <p:sp>
        <p:nvSpPr>
          <p:cNvPr id="25" name="Slide Number Placeholder 24">
            <a:extLst>
              <a:ext uri="{FF2B5EF4-FFF2-40B4-BE49-F238E27FC236}">
                <a16:creationId xmlns:a16="http://schemas.microsoft.com/office/drawing/2014/main" id="{5058AE03-D409-0714-CCED-4548A9C92023}"/>
              </a:ext>
            </a:extLst>
          </p:cNvPr>
          <p:cNvSpPr>
            <a:spLocks noGrp="1"/>
          </p:cNvSpPr>
          <p:nvPr>
            <p:ph type="sldNum" sz="quarter" idx="12"/>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48F63A3B-78C7-47BE-AE5E-E10140E04643}" type="slidenum">
              <a:rPr kumimoji="0" lang="en-US" sz="1200" b="0" i="0" u="none" strike="noStrike" kern="1200" cap="none" spc="0" normalizeH="0" baseline="0" noProof="0" smtClean="0">
                <a:ln>
                  <a:noFill/>
                </a:ln>
                <a:solidFill>
                  <a:srgbClr val="1F2C8F"/>
                </a:solidFill>
                <a:effectLst/>
                <a:uLnTx/>
                <a:uFillTx/>
                <a:latin typeface="Arial" panose="020B0604020202020204" pitchFamily="34" charset="0"/>
                <a:ea typeface="+mn-ea"/>
                <a:cs typeface="Arial" panose="020B0604020202020204" pitchFamily="34" charset="0"/>
              </a:rPr>
              <a:pPr marL="0" marR="0" lvl="0" indent="0" algn="ct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srgbClr val="1F2C8F"/>
              </a:solidFill>
              <a:effectLst/>
              <a:uLnTx/>
              <a:uFillTx/>
              <a:latin typeface="Arial" panose="020B0604020202020204" pitchFamily="34" charset="0"/>
              <a:ea typeface="+mn-ea"/>
              <a:cs typeface="Arial" panose="020B0604020202020204" pitchFamily="34" charset="0"/>
            </a:endParaRPr>
          </a:p>
        </p:txBody>
      </p:sp>
      <p:sp>
        <p:nvSpPr>
          <p:cNvPr id="11" name="Text Placeholder 10">
            <a:extLst>
              <a:ext uri="{FF2B5EF4-FFF2-40B4-BE49-F238E27FC236}">
                <a16:creationId xmlns:a16="http://schemas.microsoft.com/office/drawing/2014/main" id="{A2C39DD0-CD86-2929-7808-58D17FC2C0A6}"/>
              </a:ext>
            </a:extLst>
          </p:cNvPr>
          <p:cNvSpPr>
            <a:spLocks noGrp="1"/>
          </p:cNvSpPr>
          <p:nvPr>
            <p:ph type="body" idx="1"/>
          </p:nvPr>
        </p:nvSpPr>
        <p:spPr/>
        <p:txBody>
          <a:bodyPr/>
          <a:lstStyle/>
          <a:p>
            <a:r>
              <a:rPr lang="en-US" dirty="0">
                <a:latin typeface="Arial"/>
                <a:cs typeface="Arial"/>
              </a:rPr>
              <a:t>Ongoing education</a:t>
            </a:r>
            <a:endParaRPr lang="en-US" dirty="0"/>
          </a:p>
        </p:txBody>
      </p:sp>
      <p:sp>
        <p:nvSpPr>
          <p:cNvPr id="12" name="Content Placeholder 11">
            <a:extLst>
              <a:ext uri="{FF2B5EF4-FFF2-40B4-BE49-F238E27FC236}">
                <a16:creationId xmlns:a16="http://schemas.microsoft.com/office/drawing/2014/main" id="{CE3C1BFF-2275-1E7D-0604-E6F5CFEC01F6}"/>
              </a:ext>
            </a:extLst>
          </p:cNvPr>
          <p:cNvSpPr>
            <a:spLocks noGrp="1"/>
          </p:cNvSpPr>
          <p:nvPr>
            <p:ph sz="half" idx="2"/>
          </p:nvPr>
        </p:nvSpPr>
        <p:spPr/>
        <p:txBody>
          <a:bodyPr vert="horz" lIns="45720" tIns="45720" rIns="45720" bIns="45720" rtlCol="0" anchor="t">
            <a:noAutofit/>
          </a:bodyPr>
          <a:lstStyle/>
          <a:p>
            <a:pPr marL="347345" indent="-347345"/>
            <a:r>
              <a:rPr lang="en-US" dirty="0"/>
              <a:t>Continue to educate on any policy/protocol changes, current antibiotic rate and fall outs. </a:t>
            </a:r>
            <a:endParaRPr lang="en-US" dirty="0">
              <a:cs typeface="Sabon Next LT"/>
            </a:endParaRPr>
          </a:p>
          <a:p>
            <a:pPr marL="347345" indent="-347345"/>
            <a:r>
              <a:rPr lang="en-US" dirty="0">
                <a:cs typeface="Sabon Next LT"/>
              </a:rPr>
              <a:t>Will provide education during staff </a:t>
            </a:r>
            <a:r>
              <a:rPr lang="en-US">
                <a:cs typeface="Sabon Next LT"/>
              </a:rPr>
              <a:t>meetings. </a:t>
            </a:r>
            <a:endParaRPr lang="en-US" dirty="0">
              <a:cs typeface="Sabon Next LT"/>
            </a:endParaRPr>
          </a:p>
          <a:p>
            <a:endParaRPr lang="en-US" dirty="0">
              <a:cs typeface="Sabon Next LT"/>
            </a:endParaRPr>
          </a:p>
        </p:txBody>
      </p:sp>
      <p:sp>
        <p:nvSpPr>
          <p:cNvPr id="14" name="Content Placeholder 13">
            <a:extLst>
              <a:ext uri="{FF2B5EF4-FFF2-40B4-BE49-F238E27FC236}">
                <a16:creationId xmlns:a16="http://schemas.microsoft.com/office/drawing/2014/main" id="{DD1D0BF9-FCAA-67DA-79AB-E6E7E6D2B6A1}"/>
              </a:ext>
            </a:extLst>
          </p:cNvPr>
          <p:cNvSpPr>
            <a:spLocks noGrp="1"/>
          </p:cNvSpPr>
          <p:nvPr>
            <p:ph sz="quarter" idx="4"/>
          </p:nvPr>
        </p:nvSpPr>
        <p:spPr/>
        <p:txBody>
          <a:bodyPr vert="horz" lIns="45720" tIns="45720" rIns="45720" bIns="45720" rtlCol="0" anchor="t">
            <a:noAutofit/>
          </a:bodyPr>
          <a:lstStyle/>
          <a:p>
            <a:pPr marL="347345" indent="-347345"/>
            <a:endParaRPr lang="en-US" dirty="0">
              <a:cs typeface="Sabon Next LT"/>
            </a:endParaRPr>
          </a:p>
          <a:p>
            <a:pPr marL="347345" indent="-347345"/>
            <a:endParaRPr lang="en-US" dirty="0">
              <a:cs typeface="Sabon Next LT"/>
            </a:endParaRPr>
          </a:p>
        </p:txBody>
      </p:sp>
    </p:spTree>
    <p:extLst>
      <p:ext uri="{BB962C8B-B14F-4D97-AF65-F5344CB8AC3E}">
        <p14:creationId xmlns:p14="http://schemas.microsoft.com/office/powerpoint/2010/main" val="288506081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id="{ACA7A41E-2F40-4266-BFB9-938AEFCE0E17}"/>
              </a:ext>
            </a:extLst>
          </p:cNvPr>
          <p:cNvSpPr txBox="1">
            <a:spLocks/>
          </p:cNvSpPr>
          <p:nvPr/>
        </p:nvSpPr>
        <p:spPr>
          <a:xfrm>
            <a:off x="163513" y="2645211"/>
            <a:ext cx="11525250" cy="1567579"/>
          </a:xfrm>
          <a:prstGeom prst="rect">
            <a:avLst/>
          </a:prstGeom>
        </p:spPr>
        <p:txBody>
          <a:bodyPr vert="horz" lIns="91440" tIns="45720" rIns="91440" bIns="45720" rtlCol="0" anchor="ctr"/>
          <a:lstStyle>
            <a:defPPr>
              <a:defRPr lang="en-US"/>
            </a:defPPr>
            <a:lvl1pPr marL="0" algn="ctr" defTabSz="455981" rtl="0" eaLnBrk="1" latinLnBrk="0" hangingPunct="1">
              <a:defRPr sz="1200" kern="1200">
                <a:solidFill>
                  <a:schemeClr val="tx1">
                    <a:tint val="75000"/>
                  </a:schemeClr>
                </a:solidFill>
                <a:latin typeface="+mn-lt"/>
                <a:ea typeface="+mn-ea"/>
                <a:cs typeface="+mn-cs"/>
              </a:defRPr>
            </a:lvl1pPr>
            <a:lvl2pPr marL="455981" algn="l" defTabSz="455981" rtl="0" eaLnBrk="1" latinLnBrk="0" hangingPunct="1">
              <a:defRPr sz="1800" kern="1200">
                <a:solidFill>
                  <a:schemeClr val="tx1"/>
                </a:solidFill>
                <a:latin typeface="+mn-lt"/>
                <a:ea typeface="+mn-ea"/>
                <a:cs typeface="+mn-cs"/>
              </a:defRPr>
            </a:lvl2pPr>
            <a:lvl3pPr marL="911967" algn="l" defTabSz="455981" rtl="0" eaLnBrk="1" latinLnBrk="0" hangingPunct="1">
              <a:defRPr sz="1800" kern="1200">
                <a:solidFill>
                  <a:schemeClr val="tx1"/>
                </a:solidFill>
                <a:latin typeface="+mn-lt"/>
                <a:ea typeface="+mn-ea"/>
                <a:cs typeface="+mn-cs"/>
              </a:defRPr>
            </a:lvl3pPr>
            <a:lvl4pPr marL="1367957" algn="l" defTabSz="455981" rtl="0" eaLnBrk="1" latinLnBrk="0" hangingPunct="1">
              <a:defRPr sz="1800" kern="1200">
                <a:solidFill>
                  <a:schemeClr val="tx1"/>
                </a:solidFill>
                <a:latin typeface="+mn-lt"/>
                <a:ea typeface="+mn-ea"/>
                <a:cs typeface="+mn-cs"/>
              </a:defRPr>
            </a:lvl4pPr>
            <a:lvl5pPr marL="1823929" algn="l" defTabSz="455981" rtl="0" eaLnBrk="1" latinLnBrk="0" hangingPunct="1">
              <a:defRPr sz="1800" kern="1200">
                <a:solidFill>
                  <a:schemeClr val="tx1"/>
                </a:solidFill>
                <a:latin typeface="+mn-lt"/>
                <a:ea typeface="+mn-ea"/>
                <a:cs typeface="+mn-cs"/>
              </a:defRPr>
            </a:lvl5pPr>
            <a:lvl6pPr marL="2279907" algn="l" defTabSz="455981" rtl="0" eaLnBrk="1" latinLnBrk="0" hangingPunct="1">
              <a:defRPr sz="1800" kern="1200">
                <a:solidFill>
                  <a:schemeClr val="tx1"/>
                </a:solidFill>
                <a:latin typeface="+mn-lt"/>
                <a:ea typeface="+mn-ea"/>
                <a:cs typeface="+mn-cs"/>
              </a:defRPr>
            </a:lvl6pPr>
            <a:lvl7pPr marL="2735888" algn="l" defTabSz="455981" rtl="0" eaLnBrk="1" latinLnBrk="0" hangingPunct="1">
              <a:defRPr sz="1800" kern="1200">
                <a:solidFill>
                  <a:schemeClr val="tx1"/>
                </a:solidFill>
                <a:latin typeface="+mn-lt"/>
                <a:ea typeface="+mn-ea"/>
                <a:cs typeface="+mn-cs"/>
              </a:defRPr>
            </a:lvl7pPr>
            <a:lvl8pPr marL="3191870" algn="l" defTabSz="455981" rtl="0" eaLnBrk="1" latinLnBrk="0" hangingPunct="1">
              <a:defRPr sz="1800" kern="1200">
                <a:solidFill>
                  <a:schemeClr val="tx1"/>
                </a:solidFill>
                <a:latin typeface="+mn-lt"/>
                <a:ea typeface="+mn-ea"/>
                <a:cs typeface="+mn-cs"/>
              </a:defRPr>
            </a:lvl8pPr>
            <a:lvl9pPr marL="3647849" algn="l" defTabSz="455981" rtl="0" eaLnBrk="1" latinLnBrk="0" hangingPunct="1">
              <a:defRPr sz="1800" kern="1200">
                <a:solidFill>
                  <a:schemeClr val="tx1"/>
                </a:solidFill>
                <a:latin typeface="+mn-lt"/>
                <a:ea typeface="+mn-ea"/>
                <a:cs typeface="+mn-cs"/>
              </a:defRPr>
            </a:lvl9pPr>
          </a:lstStyle>
          <a:p>
            <a:r>
              <a:rPr lang="en-US" sz="8800" b="1" dirty="0">
                <a:solidFill>
                  <a:srgbClr val="206634"/>
                </a:solidFill>
                <a:latin typeface="Georgia" panose="02040502050405020303" pitchFamily="18" charset="0"/>
              </a:rPr>
              <a:t>Rush University Children’s Hospital</a:t>
            </a:r>
          </a:p>
        </p:txBody>
      </p:sp>
      <p:pic>
        <p:nvPicPr>
          <p:cNvPr id="1042" name="Picture 18" descr="About Rush University Children's Hospital | Rush System">
            <a:extLst>
              <a:ext uri="{FF2B5EF4-FFF2-40B4-BE49-F238E27FC236}">
                <a16:creationId xmlns:a16="http://schemas.microsoft.com/office/drawing/2014/main" id="{0755AB38-8BE3-4061-8482-E353767431F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5113"/>
          <a:stretch/>
        </p:blipFill>
        <p:spPr bwMode="auto">
          <a:xfrm>
            <a:off x="1589" y="1"/>
            <a:ext cx="12188825" cy="4986779"/>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2796A41D-F228-48F8-8BFE-162BFF926520}"/>
              </a:ext>
            </a:extLst>
          </p:cNvPr>
          <p:cNvSpPr txBox="1"/>
          <p:nvPr/>
        </p:nvSpPr>
        <p:spPr>
          <a:xfrm>
            <a:off x="3222521" y="5153891"/>
            <a:ext cx="5746958" cy="1200329"/>
          </a:xfrm>
          <a:prstGeom prst="rect">
            <a:avLst/>
          </a:prstGeom>
          <a:noFill/>
        </p:spPr>
        <p:txBody>
          <a:bodyPr wrap="none" rtlCol="0">
            <a:spAutoFit/>
          </a:bodyPr>
          <a:lstStyle/>
          <a:p>
            <a:pPr algn="ctr" defTabSz="455981"/>
            <a:r>
              <a:rPr lang="en-US" dirty="0">
                <a:solidFill>
                  <a:prstClr val="black"/>
                </a:solidFill>
                <a:latin typeface="Calibri"/>
              </a:rPr>
              <a:t>ILPQC BASIC Sustainability Meeting</a:t>
            </a:r>
          </a:p>
          <a:p>
            <a:pPr algn="ctr" defTabSz="455981"/>
            <a:endParaRPr lang="en-US" dirty="0">
              <a:solidFill>
                <a:prstClr val="black"/>
              </a:solidFill>
              <a:latin typeface="Calibri"/>
            </a:endParaRPr>
          </a:p>
          <a:p>
            <a:pPr algn="ctr" defTabSz="455981"/>
            <a:r>
              <a:rPr lang="en-US" dirty="0">
                <a:solidFill>
                  <a:prstClr val="black"/>
                </a:solidFill>
                <a:latin typeface="Calibri"/>
              </a:rPr>
              <a:t>Adelaide B. Caprio, APRN, CNS and Laura M. Seske, MD, MS</a:t>
            </a:r>
          </a:p>
          <a:p>
            <a:pPr algn="ctr" defTabSz="455981"/>
            <a:r>
              <a:rPr lang="en-US" dirty="0">
                <a:solidFill>
                  <a:prstClr val="black"/>
                </a:solidFill>
                <a:latin typeface="Calibri"/>
              </a:rPr>
              <a:t>Aug 21, 2023 </a:t>
            </a:r>
          </a:p>
        </p:txBody>
      </p:sp>
      <p:sp>
        <p:nvSpPr>
          <p:cNvPr id="3" name="Footer Placeholder 2">
            <a:extLst>
              <a:ext uri="{FF2B5EF4-FFF2-40B4-BE49-F238E27FC236}">
                <a16:creationId xmlns:a16="http://schemas.microsoft.com/office/drawing/2014/main" id="{C66BC491-6BD6-4243-B696-DF7B2F97313D}"/>
              </a:ext>
            </a:extLst>
          </p:cNvPr>
          <p:cNvSpPr>
            <a:spLocks noGrp="1"/>
          </p:cNvSpPr>
          <p:nvPr>
            <p:ph type="ftr" sz="quarter" idx="11"/>
          </p:nvPr>
        </p:nvSpPr>
        <p:spPr>
          <a:xfrm>
            <a:off x="1483255" y="6356364"/>
            <a:ext cx="9762066" cy="365125"/>
          </a:xfrm>
        </p:spPr>
        <p:txBody>
          <a:bodyPr/>
          <a:lstStyle/>
          <a:p>
            <a:pPr defTabSz="455981"/>
            <a:r>
              <a:rPr lang="en-US" dirty="0">
                <a:solidFill>
                  <a:prstClr val="black">
                    <a:tint val="75000"/>
                  </a:prstClr>
                </a:solidFill>
                <a:latin typeface="Calibri"/>
              </a:rPr>
              <a:t>CONFIDENTIALITY NOTICE: This document is privileged and confidential under the Illinois Medical Studies Act and should not be shared or distributed other than through the Rush University Medical Center quality improvement committee structure.</a:t>
            </a:r>
          </a:p>
        </p:txBody>
      </p:sp>
      <p:sp>
        <p:nvSpPr>
          <p:cNvPr id="4" name="Rectangle 3">
            <a:extLst>
              <a:ext uri="{FF2B5EF4-FFF2-40B4-BE49-F238E27FC236}">
                <a16:creationId xmlns:a16="http://schemas.microsoft.com/office/drawing/2014/main" id="{94F025C2-08AE-4A28-A784-F3201D994025}"/>
              </a:ext>
            </a:extLst>
          </p:cNvPr>
          <p:cNvSpPr/>
          <p:nvPr/>
        </p:nvSpPr>
        <p:spPr>
          <a:xfrm>
            <a:off x="938562" y="4043750"/>
            <a:ext cx="10314876" cy="1107996"/>
          </a:xfrm>
          <a:prstGeom prst="rect">
            <a:avLst/>
          </a:prstGeom>
          <a:noFill/>
        </p:spPr>
        <p:txBody>
          <a:bodyPr wrap="none" lIns="91440" tIns="45720" rIns="91440" bIns="45720">
            <a:spAutoFit/>
          </a:bodyPr>
          <a:lstStyle/>
          <a:p>
            <a:pPr algn="ctr" defTabSz="455981"/>
            <a:r>
              <a:rPr lang="en-US" sz="6600" dirty="0">
                <a:ln w="0"/>
                <a:solidFill>
                  <a:srgbClr val="4BB754"/>
                </a:solidFill>
                <a:effectLst>
                  <a:outerShdw blurRad="50800" dist="38100" dir="5400000" algn="t" rotWithShape="0">
                    <a:prstClr val="black">
                      <a:alpha val="40000"/>
                    </a:prstClr>
                  </a:outerShdw>
                </a:effectLst>
                <a:latin typeface="Calibri"/>
              </a:rPr>
              <a:t>Keeping an eye on the BASICs</a:t>
            </a:r>
          </a:p>
        </p:txBody>
      </p:sp>
    </p:spTree>
    <p:extLst>
      <p:ext uri="{BB962C8B-B14F-4D97-AF65-F5344CB8AC3E}">
        <p14:creationId xmlns:p14="http://schemas.microsoft.com/office/powerpoint/2010/main" val="1016884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w</p:attrName>
                                        </p:attrNameLst>
                                      </p:cBhvr>
                                      <p:tavLst>
                                        <p:tav tm="0">
                                          <p:val>
                                            <p:fltVal val="0"/>
                                          </p:val>
                                        </p:tav>
                                        <p:tav tm="100000">
                                          <p:val>
                                            <p:strVal val="#ppt_w"/>
                                          </p:val>
                                        </p:tav>
                                      </p:tavLst>
                                    </p:anim>
                                    <p:anim calcmode="lin" valueType="num">
                                      <p:cBhvr>
                                        <p:cTn id="8" dur="1000" fill="hold"/>
                                        <p:tgtEl>
                                          <p:spTgt spid="4"/>
                                        </p:tgtEl>
                                        <p:attrNameLst>
                                          <p:attrName>ppt_h</p:attrName>
                                        </p:attrNameLst>
                                      </p:cBhvr>
                                      <p:tavLst>
                                        <p:tav tm="0">
                                          <p:val>
                                            <p:fltVal val="0"/>
                                          </p:val>
                                        </p:tav>
                                        <p:tav tm="100000">
                                          <p:val>
                                            <p:strVal val="#ppt_h"/>
                                          </p:val>
                                        </p:tav>
                                      </p:tavLst>
                                    </p:anim>
                                    <p:anim calcmode="lin" valueType="num">
                                      <p:cBhvr>
                                        <p:cTn id="9" dur="1000" fill="hold"/>
                                        <p:tgtEl>
                                          <p:spTgt spid="4"/>
                                        </p:tgtEl>
                                        <p:attrNameLst>
                                          <p:attrName>style.rotation</p:attrName>
                                        </p:attrNameLst>
                                      </p:cBhvr>
                                      <p:tavLst>
                                        <p:tav tm="0">
                                          <p:val>
                                            <p:fltVal val="90"/>
                                          </p:val>
                                        </p:tav>
                                        <p:tav tm="100000">
                                          <p:val>
                                            <p:fltVal val="0"/>
                                          </p:val>
                                        </p:tav>
                                      </p:tavLst>
                                    </p:anim>
                                    <p:animEffect transition="in" filter="fade">
                                      <p:cBhvr>
                                        <p:cTn id="10"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le 3"/>
          <p:cNvSpPr>
            <a:spLocks noGrp="1"/>
          </p:cNvSpPr>
          <p:nvPr>
            <p:ph type="title"/>
          </p:nvPr>
        </p:nvSpPr>
        <p:spPr>
          <a:xfrm>
            <a:off x="251465" y="-14287"/>
            <a:ext cx="7986157" cy="1143000"/>
          </a:xfrm>
        </p:spPr>
        <p:txBody>
          <a:bodyPr>
            <a:normAutofit/>
          </a:bodyPr>
          <a:lstStyle/>
          <a:p>
            <a:pPr algn="l"/>
            <a:r>
              <a:rPr lang="en-US" altLang="en-US" sz="4000" b="1" dirty="0"/>
              <a:t>Hospital Demographics</a:t>
            </a:r>
          </a:p>
        </p:txBody>
      </p:sp>
      <p:sp>
        <p:nvSpPr>
          <p:cNvPr id="2" name="Content Placeholder 1"/>
          <p:cNvSpPr>
            <a:spLocks noGrp="1"/>
          </p:cNvSpPr>
          <p:nvPr>
            <p:ph idx="1"/>
          </p:nvPr>
        </p:nvSpPr>
        <p:spPr>
          <a:xfrm>
            <a:off x="378016" y="1128713"/>
            <a:ext cx="8104381" cy="5729287"/>
          </a:xfrm>
        </p:spPr>
        <p:txBody>
          <a:bodyPr>
            <a:normAutofit/>
          </a:bodyPr>
          <a:lstStyle/>
          <a:p>
            <a:r>
              <a:rPr lang="en-US" b="1" dirty="0"/>
              <a:t>Location</a:t>
            </a:r>
          </a:p>
          <a:p>
            <a:pPr lvl="1"/>
            <a:r>
              <a:rPr lang="en-US" dirty="0"/>
              <a:t>Chicago, IL</a:t>
            </a:r>
          </a:p>
          <a:p>
            <a:r>
              <a:rPr lang="en-US" b="1" dirty="0"/>
              <a:t>Perinatal Administrative Center (PAC)</a:t>
            </a:r>
          </a:p>
          <a:p>
            <a:pPr lvl="1"/>
            <a:r>
              <a:rPr lang="en-US" dirty="0"/>
              <a:t>Rush University</a:t>
            </a:r>
          </a:p>
          <a:p>
            <a:r>
              <a:rPr lang="en-US" b="1" dirty="0"/>
              <a:t>Perinatal Level</a:t>
            </a:r>
          </a:p>
          <a:p>
            <a:pPr lvl="1"/>
            <a:r>
              <a:rPr lang="en-US" dirty="0"/>
              <a:t>Level 3, Referral Institution for PAC</a:t>
            </a:r>
          </a:p>
          <a:p>
            <a:r>
              <a:rPr lang="en-US" b="1" dirty="0"/>
              <a:t>Birth Volume</a:t>
            </a:r>
          </a:p>
          <a:p>
            <a:pPr lvl="1"/>
            <a:r>
              <a:rPr lang="en-US" dirty="0"/>
              <a:t>Approximately 2400 deliveries/year</a:t>
            </a:r>
          </a:p>
          <a:p>
            <a:pPr lvl="1"/>
            <a:endParaRPr lang="en-US" dirty="0"/>
          </a:p>
        </p:txBody>
      </p:sp>
      <p:sp>
        <p:nvSpPr>
          <p:cNvPr id="5" name="Footer Placeholder 2">
            <a:extLst>
              <a:ext uri="{FF2B5EF4-FFF2-40B4-BE49-F238E27FC236}">
                <a16:creationId xmlns:a16="http://schemas.microsoft.com/office/drawing/2014/main" id="{B61E2FA0-7E79-4846-A7D5-DB710C7DCF6A}"/>
              </a:ext>
            </a:extLst>
          </p:cNvPr>
          <p:cNvSpPr>
            <a:spLocks noGrp="1"/>
          </p:cNvSpPr>
          <p:nvPr>
            <p:ph type="ftr" sz="quarter" idx="11"/>
          </p:nvPr>
        </p:nvSpPr>
        <p:spPr>
          <a:xfrm>
            <a:off x="1483255" y="6356364"/>
            <a:ext cx="9762066" cy="365125"/>
          </a:xfrm>
        </p:spPr>
        <p:txBody>
          <a:bodyPr/>
          <a:lstStyle/>
          <a:p>
            <a:pPr defTabSz="455981"/>
            <a:r>
              <a:rPr lang="en-US" dirty="0">
                <a:solidFill>
                  <a:prstClr val="black">
                    <a:tint val="75000"/>
                  </a:prstClr>
                </a:solidFill>
                <a:latin typeface="Calibri"/>
              </a:rPr>
              <a:t>CONFIDENTIALITY NOTICE: This document is privileged and confidential under the Illinois Medical Studies Act and should not be shared or distributed other than through the Rush University Medical Center quality improvement committee structure.</a:t>
            </a:r>
          </a:p>
        </p:txBody>
      </p:sp>
    </p:spTree>
    <p:extLst>
      <p:ext uri="{BB962C8B-B14F-4D97-AF65-F5344CB8AC3E}">
        <p14:creationId xmlns:p14="http://schemas.microsoft.com/office/powerpoint/2010/main" val="207220610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51A288-6B33-4044-8E50-1C4215D770C5}"/>
              </a:ext>
            </a:extLst>
          </p:cNvPr>
          <p:cNvSpPr>
            <a:spLocks noGrp="1"/>
          </p:cNvSpPr>
          <p:nvPr>
            <p:ph type="title"/>
          </p:nvPr>
        </p:nvSpPr>
        <p:spPr>
          <a:xfrm>
            <a:off x="153076" y="-275422"/>
            <a:ext cx="6513263" cy="1143000"/>
          </a:xfrm>
        </p:spPr>
        <p:txBody>
          <a:bodyPr>
            <a:normAutofit/>
          </a:bodyPr>
          <a:lstStyle/>
          <a:p>
            <a:r>
              <a:rPr lang="en-US" sz="4000" b="1" dirty="0"/>
              <a:t>It’s was </a:t>
            </a:r>
            <a:r>
              <a:rPr lang="en-US" sz="4000" b="1" dirty="0" err="1">
                <a:solidFill>
                  <a:srgbClr val="00B050"/>
                </a:solidFill>
              </a:rPr>
              <a:t>BASIC</a:t>
            </a:r>
            <a:r>
              <a:rPr lang="en-US" sz="4000" b="1" dirty="0" err="1"/>
              <a:t>ally</a:t>
            </a:r>
            <a:r>
              <a:rPr lang="en-US" sz="4000" b="1" dirty="0"/>
              <a:t> a success</a:t>
            </a:r>
          </a:p>
        </p:txBody>
      </p:sp>
      <p:sp>
        <p:nvSpPr>
          <p:cNvPr id="6" name="Content Placeholder 5">
            <a:extLst>
              <a:ext uri="{FF2B5EF4-FFF2-40B4-BE49-F238E27FC236}">
                <a16:creationId xmlns:a16="http://schemas.microsoft.com/office/drawing/2014/main" id="{8711A46C-9E93-4179-975A-D01D7006F2A8}"/>
              </a:ext>
            </a:extLst>
          </p:cNvPr>
          <p:cNvSpPr>
            <a:spLocks noGrp="1"/>
          </p:cNvSpPr>
          <p:nvPr>
            <p:ph idx="1"/>
          </p:nvPr>
        </p:nvSpPr>
        <p:spPr>
          <a:xfrm>
            <a:off x="246285" y="685016"/>
            <a:ext cx="11310851" cy="5853910"/>
          </a:xfrm>
          <a:prstGeom prst="rect">
            <a:avLst/>
          </a:prstGeom>
        </p:spPr>
        <p:txBody>
          <a:bodyPr wrap="square">
            <a:spAutoFit/>
          </a:bodyPr>
          <a:lstStyle/>
          <a:p>
            <a:pPr marL="685800" indent="-685800">
              <a:buFont typeface="Arial" panose="020B0604020202020204" pitchFamily="34" charset="0"/>
              <a:buChar char="•"/>
            </a:pPr>
            <a:r>
              <a:rPr lang="en-US" sz="2400" dirty="0">
                <a:latin typeface="Calibri" panose="020F0502020204030204" pitchFamily="34" charset="0"/>
                <a:cs typeface="Calibri" panose="020F0502020204030204" pitchFamily="34" charset="0"/>
              </a:rPr>
              <a:t>Implemented Kaiser Neonatal Early –Onset Sepsis (EOS) Calculator</a:t>
            </a:r>
          </a:p>
          <a:p>
            <a:pPr marL="685800" indent="-685800">
              <a:buFont typeface="Arial" panose="020B0604020202020204" pitchFamily="34" charset="0"/>
              <a:buChar char="•"/>
            </a:pPr>
            <a:r>
              <a:rPr lang="en-US" sz="2400" dirty="0">
                <a:latin typeface="Calibri" panose="020F0502020204030204" pitchFamily="34" charset="0"/>
                <a:cs typeface="Calibri" panose="020F0502020204030204" pitchFamily="34" charset="0"/>
              </a:rPr>
              <a:t>Standardized note template dot phrases to integrate “Risk Assessment” for all infants</a:t>
            </a:r>
          </a:p>
          <a:p>
            <a:pPr marL="685800" indent="-685800">
              <a:buFont typeface="Arial" panose="020B0604020202020204" pitchFamily="34" charset="0"/>
              <a:buChar char="•"/>
            </a:pPr>
            <a:r>
              <a:rPr lang="en-US" sz="2400" dirty="0">
                <a:latin typeface="Calibri" panose="020F0502020204030204" pitchFamily="34" charset="0"/>
                <a:cs typeface="Calibri" panose="020F0502020204030204" pitchFamily="34" charset="0"/>
              </a:rPr>
              <a:t>Created new EPIC flowsheet for use of calculator data for each patient</a:t>
            </a:r>
          </a:p>
          <a:p>
            <a:pPr marL="685800" indent="-685800">
              <a:buFont typeface="Arial" panose="020B0604020202020204" pitchFamily="34" charset="0"/>
              <a:buChar char="•"/>
            </a:pPr>
            <a:r>
              <a:rPr lang="en-US" sz="2400" dirty="0">
                <a:latin typeface="Calibri" panose="020F0502020204030204" pitchFamily="34" charset="0"/>
                <a:cs typeface="Calibri" panose="020F0502020204030204" pitchFamily="34" charset="0"/>
              </a:rPr>
              <a:t>Continued use of antibiotic time outs with standardized discussion and documentation of infants who required prolonged duration of antibiotics </a:t>
            </a:r>
          </a:p>
          <a:p>
            <a:pPr marL="685800" indent="-685800">
              <a:buFont typeface="Arial" panose="020B0604020202020204" pitchFamily="34" charset="0"/>
              <a:buChar char="•"/>
            </a:pPr>
            <a:r>
              <a:rPr lang="en-US" sz="2400" dirty="0">
                <a:latin typeface="Calibri" panose="020F0502020204030204" pitchFamily="34" charset="0"/>
                <a:cs typeface="Calibri" panose="020F0502020204030204" pitchFamily="34" charset="0"/>
              </a:rPr>
              <a:t>Completed mandatory, interprofessional education on antibiotic stewardship</a:t>
            </a:r>
          </a:p>
          <a:p>
            <a:pPr marL="1085850" lvl="1" indent="-171450">
              <a:buFont typeface="Arial" panose="020B0604020202020204" pitchFamily="34" charset="0"/>
              <a:buChar char="•"/>
            </a:pPr>
            <a:r>
              <a:rPr lang="en-US" sz="2000" dirty="0">
                <a:latin typeface="Calibri" panose="020F0502020204030204" pitchFamily="34" charset="0"/>
                <a:cs typeface="Calibri" panose="020F0502020204030204" pitchFamily="34" charset="0"/>
              </a:rPr>
              <a:t>Nursing, Providers, Pharmacists</a:t>
            </a:r>
          </a:p>
          <a:p>
            <a:pPr marL="685800" indent="-685800">
              <a:buFont typeface="Arial" panose="020B0604020202020204" pitchFamily="34" charset="0"/>
              <a:buChar char="•"/>
            </a:pPr>
            <a:r>
              <a:rPr lang="en-US" sz="2400" dirty="0">
                <a:latin typeface="Calibri" panose="020F0502020204030204" pitchFamily="34" charset="0"/>
                <a:cs typeface="Calibri" panose="020F0502020204030204" pitchFamily="34" charset="0"/>
              </a:rPr>
              <a:t>Updated EPIC order sets with automatic stop times to 36 hours </a:t>
            </a:r>
          </a:p>
          <a:p>
            <a:pPr marL="685800" indent="-685800">
              <a:buFont typeface="Arial" panose="020B0604020202020204" pitchFamily="34" charset="0"/>
              <a:buChar char="•"/>
            </a:pPr>
            <a:r>
              <a:rPr lang="en-US" sz="2400" dirty="0">
                <a:latin typeface="Calibri" panose="020F0502020204030204" pitchFamily="34" charset="0"/>
                <a:cs typeface="Calibri" panose="020F0502020204030204" pitchFamily="34" charset="0"/>
              </a:rPr>
              <a:t>Standardized vital signs and workflow algorithms to decrease variability of practice and notification to providers</a:t>
            </a:r>
          </a:p>
          <a:p>
            <a:pPr marL="1085850" lvl="1" indent="-171450">
              <a:buFont typeface="Arial" panose="020B0604020202020204" pitchFamily="34" charset="0"/>
              <a:buChar char="•"/>
            </a:pPr>
            <a:r>
              <a:rPr lang="en-US" sz="2000" dirty="0">
                <a:latin typeface="Calibri" panose="020F0502020204030204" pitchFamily="34" charset="0"/>
                <a:cs typeface="Calibri" panose="020F0502020204030204" pitchFamily="34" charset="0"/>
              </a:rPr>
              <a:t>Labor &amp; Delivery, General Newborn Care, NICU </a:t>
            </a:r>
          </a:p>
          <a:p>
            <a:pPr marL="685800" indent="-685800">
              <a:buFont typeface="Arial" panose="020B0604020202020204" pitchFamily="34" charset="0"/>
              <a:buChar char="•"/>
            </a:pPr>
            <a:r>
              <a:rPr lang="en-US" sz="2400" dirty="0">
                <a:latin typeface="Calibri" panose="020F0502020204030204" pitchFamily="34" charset="0"/>
                <a:cs typeface="Calibri" panose="020F0502020204030204" pitchFamily="34" charset="0"/>
              </a:rPr>
              <a:t>Standardized EOS education in English and Spanish, for parents via text, e-mail and MyChart</a:t>
            </a:r>
          </a:p>
        </p:txBody>
      </p:sp>
      <p:sp>
        <p:nvSpPr>
          <p:cNvPr id="5" name="Footer Placeholder 2">
            <a:extLst>
              <a:ext uri="{FF2B5EF4-FFF2-40B4-BE49-F238E27FC236}">
                <a16:creationId xmlns:a16="http://schemas.microsoft.com/office/drawing/2014/main" id="{28D2DF77-93BC-48F4-8728-F529AA8B5134}"/>
              </a:ext>
            </a:extLst>
          </p:cNvPr>
          <p:cNvSpPr>
            <a:spLocks noGrp="1"/>
          </p:cNvSpPr>
          <p:nvPr>
            <p:ph type="ftr" sz="quarter" idx="11"/>
          </p:nvPr>
        </p:nvSpPr>
        <p:spPr>
          <a:xfrm>
            <a:off x="1483255" y="6356364"/>
            <a:ext cx="9762066" cy="365125"/>
          </a:xfrm>
        </p:spPr>
        <p:txBody>
          <a:bodyPr/>
          <a:lstStyle/>
          <a:p>
            <a:pPr defTabSz="455981"/>
            <a:r>
              <a:rPr lang="en-US" dirty="0">
                <a:solidFill>
                  <a:prstClr val="black">
                    <a:tint val="75000"/>
                  </a:prstClr>
                </a:solidFill>
                <a:latin typeface="Calibri"/>
              </a:rPr>
              <a:t>CONFIDENTIALITY NOTICE: This document is privileged and confidential under the Illinois Medical Studies Act and should not be shared or distributed other than through the Rush University Medical Center quality improvement committee structure.</a:t>
            </a:r>
          </a:p>
        </p:txBody>
      </p:sp>
    </p:spTree>
    <p:extLst>
      <p:ext uri="{BB962C8B-B14F-4D97-AF65-F5344CB8AC3E}">
        <p14:creationId xmlns:p14="http://schemas.microsoft.com/office/powerpoint/2010/main" val="49287131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B9FAE2B-F16A-F47B-68EB-2555DBBD4E52}"/>
              </a:ext>
            </a:extLst>
          </p:cNvPr>
          <p:cNvPicPr>
            <a:picLocks noChangeAspect="1"/>
          </p:cNvPicPr>
          <p:nvPr/>
        </p:nvPicPr>
        <p:blipFill rotWithShape="1">
          <a:blip r:embed="rId2"/>
          <a:srcRect t="7513" r="2789" b="18999"/>
          <a:stretch/>
        </p:blipFill>
        <p:spPr>
          <a:xfrm>
            <a:off x="513897" y="1977224"/>
            <a:ext cx="8151394" cy="4108052"/>
          </a:xfrm>
          <a:prstGeom prst="rect">
            <a:avLst/>
          </a:prstGeom>
        </p:spPr>
      </p:pic>
      <p:cxnSp>
        <p:nvCxnSpPr>
          <p:cNvPr id="9" name="Straight Arrow Connector 8">
            <a:extLst>
              <a:ext uri="{FF2B5EF4-FFF2-40B4-BE49-F238E27FC236}">
                <a16:creationId xmlns:a16="http://schemas.microsoft.com/office/drawing/2014/main" id="{3E2C5F69-2918-F5FB-B5D9-4CF0E403C000}"/>
              </a:ext>
            </a:extLst>
          </p:cNvPr>
          <p:cNvCxnSpPr>
            <a:cxnSpLocks/>
          </p:cNvCxnSpPr>
          <p:nvPr/>
        </p:nvCxnSpPr>
        <p:spPr>
          <a:xfrm flipH="1">
            <a:off x="6096005" y="3188203"/>
            <a:ext cx="626895" cy="1013035"/>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9FDD95E4-8723-550D-A98E-E20C4A42636F}"/>
              </a:ext>
            </a:extLst>
          </p:cNvPr>
          <p:cNvSpPr txBox="1"/>
          <p:nvPr/>
        </p:nvSpPr>
        <p:spPr>
          <a:xfrm>
            <a:off x="6336390" y="2818870"/>
            <a:ext cx="2319602" cy="369332"/>
          </a:xfrm>
          <a:prstGeom prst="rect">
            <a:avLst/>
          </a:prstGeom>
          <a:noFill/>
        </p:spPr>
        <p:txBody>
          <a:bodyPr wrap="square" rtlCol="0">
            <a:spAutoFit/>
          </a:bodyPr>
          <a:lstStyle/>
          <a:p>
            <a:pPr defTabSz="455981"/>
            <a:r>
              <a:rPr lang="en-US" b="1" dirty="0">
                <a:solidFill>
                  <a:srgbClr val="80B606"/>
                </a:solidFill>
                <a:latin typeface="Calibri"/>
              </a:rPr>
              <a:t>Sepsis Calculator </a:t>
            </a:r>
            <a:endParaRPr lang="en-US" sz="1400" b="1" dirty="0">
              <a:solidFill>
                <a:srgbClr val="80B606"/>
              </a:solidFill>
              <a:latin typeface="Calibri"/>
            </a:endParaRPr>
          </a:p>
        </p:txBody>
      </p:sp>
      <p:sp>
        <p:nvSpPr>
          <p:cNvPr id="13" name="Title 12">
            <a:extLst>
              <a:ext uri="{FF2B5EF4-FFF2-40B4-BE49-F238E27FC236}">
                <a16:creationId xmlns:a16="http://schemas.microsoft.com/office/drawing/2014/main" id="{7A6B9F8D-C68D-C6D1-9B1F-09232018EDFD}"/>
              </a:ext>
            </a:extLst>
          </p:cNvPr>
          <p:cNvSpPr>
            <a:spLocks noGrp="1"/>
          </p:cNvSpPr>
          <p:nvPr>
            <p:ph type="title" idx="4294967295"/>
          </p:nvPr>
        </p:nvSpPr>
        <p:spPr>
          <a:xfrm>
            <a:off x="878007" y="1336308"/>
            <a:ext cx="10800097" cy="1320456"/>
          </a:xfrm>
          <a:prstGeom prst="rect">
            <a:avLst/>
          </a:prstGeom>
        </p:spPr>
        <p:txBody>
          <a:bodyPr vert="horz" lIns="91416" tIns="45708" rIns="91416" bIns="45708" rtlCol="0" anchor="t">
            <a:norm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400" b="1" dirty="0"/>
              <a:t>Sepsis Calculator Effect on “well-appearing” babies receiving antibiotics at RUMC</a:t>
            </a:r>
          </a:p>
        </p:txBody>
      </p:sp>
      <p:sp>
        <p:nvSpPr>
          <p:cNvPr id="6" name="Title 9">
            <a:extLst>
              <a:ext uri="{FF2B5EF4-FFF2-40B4-BE49-F238E27FC236}">
                <a16:creationId xmlns:a16="http://schemas.microsoft.com/office/drawing/2014/main" id="{CCF3C727-8783-4145-A761-01FE0C077829}"/>
              </a:ext>
            </a:extLst>
          </p:cNvPr>
          <p:cNvSpPr txBox="1">
            <a:spLocks/>
          </p:cNvSpPr>
          <p:nvPr/>
        </p:nvSpPr>
        <p:spPr>
          <a:xfrm>
            <a:off x="-1425278" y="322926"/>
            <a:ext cx="5364579" cy="692925"/>
          </a:xfrm>
          <a:prstGeom prst="rect">
            <a:avLst/>
          </a:prstGeom>
        </p:spPr>
        <p:txBody>
          <a:bodyPr>
            <a:normAutofit fontScale="90000"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b="1" dirty="0">
                <a:solidFill>
                  <a:prstClr val="black"/>
                </a:solidFill>
                <a:latin typeface="Calibri"/>
              </a:rPr>
              <a:t>Results</a:t>
            </a:r>
          </a:p>
        </p:txBody>
      </p:sp>
      <p:sp>
        <p:nvSpPr>
          <p:cNvPr id="8" name="Footer Placeholder 2">
            <a:extLst>
              <a:ext uri="{FF2B5EF4-FFF2-40B4-BE49-F238E27FC236}">
                <a16:creationId xmlns:a16="http://schemas.microsoft.com/office/drawing/2014/main" id="{301F0C8A-EDC7-49B0-B07E-F2AFB52C4B75}"/>
              </a:ext>
            </a:extLst>
          </p:cNvPr>
          <p:cNvSpPr>
            <a:spLocks noGrp="1"/>
          </p:cNvSpPr>
          <p:nvPr>
            <p:ph type="ftr" sz="quarter" idx="11"/>
          </p:nvPr>
        </p:nvSpPr>
        <p:spPr>
          <a:xfrm>
            <a:off x="1483255" y="6356364"/>
            <a:ext cx="9762066" cy="365125"/>
          </a:xfrm>
        </p:spPr>
        <p:txBody>
          <a:bodyPr/>
          <a:lstStyle/>
          <a:p>
            <a:pPr defTabSz="455981"/>
            <a:r>
              <a:rPr lang="en-US" dirty="0">
                <a:solidFill>
                  <a:prstClr val="black">
                    <a:tint val="75000"/>
                  </a:prstClr>
                </a:solidFill>
                <a:latin typeface="Calibri"/>
              </a:rPr>
              <a:t>CONFIDENTIALITY NOTICE: This document is privileged and confidential under the Illinois Medical Studies Act and should not be shared or distributed other than through the Rush University Medical Center quality improvement committee structure.</a:t>
            </a:r>
          </a:p>
        </p:txBody>
      </p:sp>
    </p:spTree>
    <p:extLst>
      <p:ext uri="{BB962C8B-B14F-4D97-AF65-F5344CB8AC3E}">
        <p14:creationId xmlns:p14="http://schemas.microsoft.com/office/powerpoint/2010/main" val="58641606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CB8104-BC82-4A42-B597-9412946CE6A0}"/>
              </a:ext>
            </a:extLst>
          </p:cNvPr>
          <p:cNvSpPr>
            <a:spLocks noGrp="1"/>
          </p:cNvSpPr>
          <p:nvPr>
            <p:ph type="title"/>
          </p:nvPr>
        </p:nvSpPr>
        <p:spPr>
          <a:xfrm>
            <a:off x="1589" y="83252"/>
            <a:ext cx="3912317" cy="1143000"/>
          </a:xfrm>
        </p:spPr>
        <p:txBody>
          <a:bodyPr>
            <a:normAutofit/>
          </a:bodyPr>
          <a:lstStyle/>
          <a:p>
            <a:r>
              <a:rPr lang="en-US" sz="4000" b="1" dirty="0"/>
              <a:t>Opportunities</a:t>
            </a:r>
          </a:p>
        </p:txBody>
      </p:sp>
      <p:sp>
        <p:nvSpPr>
          <p:cNvPr id="6" name="Content Placeholder 5">
            <a:extLst>
              <a:ext uri="{FF2B5EF4-FFF2-40B4-BE49-F238E27FC236}">
                <a16:creationId xmlns:a16="http://schemas.microsoft.com/office/drawing/2014/main" id="{186A1578-5BB2-4598-9FBA-AC6758B8A45E}"/>
              </a:ext>
            </a:extLst>
          </p:cNvPr>
          <p:cNvSpPr>
            <a:spLocks noGrp="1"/>
          </p:cNvSpPr>
          <p:nvPr>
            <p:ph idx="1"/>
          </p:nvPr>
        </p:nvSpPr>
        <p:spPr/>
        <p:txBody>
          <a:bodyPr/>
          <a:lstStyle/>
          <a:p>
            <a:pPr marL="685800" indent="-685800">
              <a:buFont typeface="Arial" panose="020B0604020202020204" pitchFamily="34" charset="0"/>
              <a:buChar char="•"/>
            </a:pPr>
            <a:r>
              <a:rPr lang="en-US" dirty="0">
                <a:latin typeface="Calibri" panose="020F0502020204030204" pitchFamily="34" charset="0"/>
                <a:cs typeface="Calibri" panose="020F0502020204030204" pitchFamily="34" charset="0"/>
              </a:rPr>
              <a:t>Evaluation of antibiotics given in the absence of risk factors other than prematurity when delivery occurs purely for maternal indications</a:t>
            </a:r>
          </a:p>
          <a:p>
            <a:pPr marL="685800" indent="-685800">
              <a:buFont typeface="Arial" panose="020B0604020202020204" pitchFamily="34" charset="0"/>
              <a:buChar char="•"/>
            </a:pPr>
            <a:r>
              <a:rPr lang="en-US" dirty="0">
                <a:latin typeface="Calibri" panose="020F0502020204030204" pitchFamily="34" charset="0"/>
                <a:cs typeface="Calibri" panose="020F0502020204030204" pitchFamily="34" charset="0"/>
              </a:rPr>
              <a:t>Further analysis of Social Determinants of Health and outcomes related to newborn sepsis</a:t>
            </a:r>
          </a:p>
          <a:p>
            <a:pPr marL="685800" indent="-685800">
              <a:buFont typeface="Arial" panose="020B0604020202020204" pitchFamily="34" charset="0"/>
              <a:buChar char="•"/>
            </a:pPr>
            <a:r>
              <a:rPr lang="en-US" dirty="0"/>
              <a:t>Continue to monitor data entry and perform data review at divisional and departmental meetings</a:t>
            </a:r>
          </a:p>
          <a:p>
            <a:pPr marL="685800" indent="-685800">
              <a:buFont typeface="Arial" panose="020B0604020202020204" pitchFamily="34" charset="0"/>
              <a:buChar char="•"/>
            </a:pPr>
            <a:endParaRPr lang="en-US" dirty="0">
              <a:latin typeface="Calibri" panose="020F0502020204030204" pitchFamily="34" charset="0"/>
              <a:cs typeface="Calibri" panose="020F0502020204030204" pitchFamily="34" charset="0"/>
            </a:endParaRPr>
          </a:p>
        </p:txBody>
      </p:sp>
      <p:sp>
        <p:nvSpPr>
          <p:cNvPr id="5" name="Footer Placeholder 2">
            <a:extLst>
              <a:ext uri="{FF2B5EF4-FFF2-40B4-BE49-F238E27FC236}">
                <a16:creationId xmlns:a16="http://schemas.microsoft.com/office/drawing/2014/main" id="{C97FC4A7-78EB-443D-BDA3-77500F97ECB7}"/>
              </a:ext>
            </a:extLst>
          </p:cNvPr>
          <p:cNvSpPr>
            <a:spLocks noGrp="1"/>
          </p:cNvSpPr>
          <p:nvPr>
            <p:ph type="ftr" sz="quarter" idx="11"/>
          </p:nvPr>
        </p:nvSpPr>
        <p:spPr>
          <a:xfrm>
            <a:off x="1483255" y="6356364"/>
            <a:ext cx="9762066" cy="365125"/>
          </a:xfrm>
        </p:spPr>
        <p:txBody>
          <a:bodyPr/>
          <a:lstStyle/>
          <a:p>
            <a:pPr defTabSz="455981"/>
            <a:r>
              <a:rPr lang="en-US" dirty="0">
                <a:solidFill>
                  <a:prstClr val="black">
                    <a:tint val="75000"/>
                  </a:prstClr>
                </a:solidFill>
                <a:latin typeface="Calibri"/>
              </a:rPr>
              <a:t>CONFIDENTIALITY NOTICE: This document is privileged and confidential under the Illinois Medical Studies Act and should not be shared or distributed other than through the Rush University Medical Center quality improvement committee structure.</a:t>
            </a:r>
          </a:p>
        </p:txBody>
      </p:sp>
    </p:spTree>
    <p:extLst>
      <p:ext uri="{BB962C8B-B14F-4D97-AF65-F5344CB8AC3E}">
        <p14:creationId xmlns:p14="http://schemas.microsoft.com/office/powerpoint/2010/main" val="255609717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8ED8D-9652-4405-BB17-A26822260243}"/>
              </a:ext>
            </a:extLst>
          </p:cNvPr>
          <p:cNvSpPr>
            <a:spLocks noGrp="1"/>
          </p:cNvSpPr>
          <p:nvPr>
            <p:ph type="title"/>
          </p:nvPr>
        </p:nvSpPr>
        <p:spPr>
          <a:xfrm>
            <a:off x="611030" y="274638"/>
            <a:ext cx="4673759" cy="1143000"/>
          </a:xfrm>
        </p:spPr>
        <p:txBody>
          <a:bodyPr/>
          <a:lstStyle/>
          <a:p>
            <a:r>
              <a:rPr lang="en-US" b="1" dirty="0"/>
              <a:t>Sustainability Plan</a:t>
            </a:r>
            <a:endParaRPr lang="en-US" dirty="0"/>
          </a:p>
        </p:txBody>
      </p:sp>
      <p:sp>
        <p:nvSpPr>
          <p:cNvPr id="3" name="Content Placeholder 2">
            <a:extLst>
              <a:ext uri="{FF2B5EF4-FFF2-40B4-BE49-F238E27FC236}">
                <a16:creationId xmlns:a16="http://schemas.microsoft.com/office/drawing/2014/main" id="{B6B6B057-87E2-432D-9020-0503654B28DB}"/>
              </a:ext>
            </a:extLst>
          </p:cNvPr>
          <p:cNvSpPr>
            <a:spLocks noGrp="1"/>
          </p:cNvSpPr>
          <p:nvPr>
            <p:ph idx="1"/>
          </p:nvPr>
        </p:nvSpPr>
        <p:spPr/>
        <p:txBody>
          <a:bodyPr>
            <a:normAutofit/>
          </a:bodyPr>
          <a:lstStyle/>
          <a:p>
            <a:r>
              <a:rPr lang="en-US" dirty="0"/>
              <a:t>Sustained Improvement Tracking</a:t>
            </a:r>
          </a:p>
          <a:p>
            <a:pPr lvl="1"/>
            <a:r>
              <a:rPr lang="en-US" dirty="0"/>
              <a:t>Will continue to measure practice by submitting data via </a:t>
            </a:r>
            <a:r>
              <a:rPr lang="en-US" dirty="0" err="1"/>
              <a:t>REDCaP</a:t>
            </a:r>
            <a:r>
              <a:rPr lang="en-US" dirty="0"/>
              <a:t> </a:t>
            </a:r>
          </a:p>
          <a:p>
            <a:pPr lvl="1"/>
            <a:r>
              <a:rPr lang="en-US" dirty="0"/>
              <a:t>NICU Unit Leadership continues to collaborate with nursing students who assist with data entry </a:t>
            </a:r>
          </a:p>
          <a:p>
            <a:pPr lvl="1"/>
            <a:r>
              <a:rPr lang="en-US" dirty="0"/>
              <a:t>NICU CNS and Director of QI/PS monitor reports and present to NICU QI/PS meetings every other month</a:t>
            </a:r>
          </a:p>
          <a:p>
            <a:pPr lvl="1"/>
            <a:r>
              <a:rPr lang="en-US" dirty="0"/>
              <a:t>Automated EOS calculator and automatic stop times in EPIC aid in sustainability</a:t>
            </a:r>
          </a:p>
        </p:txBody>
      </p:sp>
      <p:sp>
        <p:nvSpPr>
          <p:cNvPr id="5" name="Footer Placeholder 2">
            <a:extLst>
              <a:ext uri="{FF2B5EF4-FFF2-40B4-BE49-F238E27FC236}">
                <a16:creationId xmlns:a16="http://schemas.microsoft.com/office/drawing/2014/main" id="{2AF6CA3D-ABB3-42B2-85AD-EBB9F206859F}"/>
              </a:ext>
            </a:extLst>
          </p:cNvPr>
          <p:cNvSpPr>
            <a:spLocks noGrp="1"/>
          </p:cNvSpPr>
          <p:nvPr>
            <p:ph type="ftr" sz="quarter" idx="11"/>
          </p:nvPr>
        </p:nvSpPr>
        <p:spPr>
          <a:xfrm>
            <a:off x="1483255" y="6356364"/>
            <a:ext cx="9762066" cy="365125"/>
          </a:xfrm>
        </p:spPr>
        <p:txBody>
          <a:bodyPr/>
          <a:lstStyle/>
          <a:p>
            <a:pPr defTabSz="455981"/>
            <a:r>
              <a:rPr lang="en-US" dirty="0">
                <a:solidFill>
                  <a:prstClr val="black">
                    <a:tint val="75000"/>
                  </a:prstClr>
                </a:solidFill>
                <a:latin typeface="Calibri"/>
              </a:rPr>
              <a:t>CONFIDENTIALITY NOTICE: This document is privileged and confidential under the Illinois Medical Studies Act and should not be shared or distributed other than through the Rush University Medical Center quality improvement committee structure.</a:t>
            </a:r>
          </a:p>
        </p:txBody>
      </p:sp>
    </p:spTree>
    <p:extLst>
      <p:ext uri="{BB962C8B-B14F-4D97-AF65-F5344CB8AC3E}">
        <p14:creationId xmlns:p14="http://schemas.microsoft.com/office/powerpoint/2010/main" val="202730735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8ED8D-9652-4405-BB17-A26822260243}"/>
              </a:ext>
            </a:extLst>
          </p:cNvPr>
          <p:cNvSpPr>
            <a:spLocks noGrp="1"/>
          </p:cNvSpPr>
          <p:nvPr>
            <p:ph type="title"/>
          </p:nvPr>
        </p:nvSpPr>
        <p:spPr>
          <a:xfrm>
            <a:off x="611030" y="274638"/>
            <a:ext cx="4673759" cy="1143000"/>
          </a:xfrm>
        </p:spPr>
        <p:txBody>
          <a:bodyPr/>
          <a:lstStyle/>
          <a:p>
            <a:r>
              <a:rPr lang="en-US" b="1" dirty="0"/>
              <a:t>Sustainability Plan</a:t>
            </a:r>
            <a:endParaRPr lang="en-US" dirty="0"/>
          </a:p>
        </p:txBody>
      </p:sp>
      <p:sp>
        <p:nvSpPr>
          <p:cNvPr id="3" name="Content Placeholder 2">
            <a:extLst>
              <a:ext uri="{FF2B5EF4-FFF2-40B4-BE49-F238E27FC236}">
                <a16:creationId xmlns:a16="http://schemas.microsoft.com/office/drawing/2014/main" id="{B6B6B057-87E2-432D-9020-0503654B28DB}"/>
              </a:ext>
            </a:extLst>
          </p:cNvPr>
          <p:cNvSpPr>
            <a:spLocks noGrp="1"/>
          </p:cNvSpPr>
          <p:nvPr>
            <p:ph idx="1"/>
          </p:nvPr>
        </p:nvSpPr>
        <p:spPr>
          <a:xfrm>
            <a:off x="611030" y="1373203"/>
            <a:ext cx="11155211" cy="4983161"/>
          </a:xfrm>
        </p:spPr>
        <p:txBody>
          <a:bodyPr>
            <a:normAutofit fontScale="92500" lnSpcReduction="10000"/>
          </a:bodyPr>
          <a:lstStyle/>
          <a:p>
            <a:r>
              <a:rPr lang="en-US" dirty="0"/>
              <a:t>New Hire &amp; Ongoing Education Plan</a:t>
            </a:r>
          </a:p>
          <a:p>
            <a:pPr lvl="1"/>
            <a:r>
              <a:rPr lang="en-US" dirty="0"/>
              <a:t>EOS, dot phrases, automatic stop time are part of workflow and orientation process for all disciplines </a:t>
            </a:r>
          </a:p>
          <a:p>
            <a:pPr lvl="1"/>
            <a:r>
              <a:rPr lang="en-US" dirty="0"/>
              <a:t>Hospital-based Antibiotic Stewardship Module (annual) </a:t>
            </a:r>
          </a:p>
          <a:p>
            <a:pPr lvl="1"/>
            <a:r>
              <a:rPr lang="en-US" dirty="0"/>
              <a:t>Process flow education during orientation </a:t>
            </a:r>
          </a:p>
          <a:p>
            <a:pPr lvl="1"/>
            <a:r>
              <a:rPr lang="en-US" dirty="0"/>
              <a:t>Review of clinical resources including family education and clinical pathways for providers </a:t>
            </a:r>
          </a:p>
          <a:p>
            <a:pPr lvl="1"/>
            <a:r>
              <a:rPr lang="en-US" dirty="0"/>
              <a:t>EPIC training demonstrating EOS Calculator, flowsheets, order sets, and BPAs </a:t>
            </a:r>
          </a:p>
          <a:p>
            <a:pPr lvl="1"/>
            <a:r>
              <a:rPr lang="en-US" dirty="0"/>
              <a:t>EOS and process flow included in NICU rotation orientation for residents and students </a:t>
            </a:r>
          </a:p>
          <a:p>
            <a:endParaRPr lang="en-US" dirty="0"/>
          </a:p>
        </p:txBody>
      </p:sp>
      <p:sp>
        <p:nvSpPr>
          <p:cNvPr id="5" name="Footer Placeholder 2">
            <a:extLst>
              <a:ext uri="{FF2B5EF4-FFF2-40B4-BE49-F238E27FC236}">
                <a16:creationId xmlns:a16="http://schemas.microsoft.com/office/drawing/2014/main" id="{3FC8C13E-BC4C-41B4-8D58-323515E6A695}"/>
              </a:ext>
            </a:extLst>
          </p:cNvPr>
          <p:cNvSpPr>
            <a:spLocks noGrp="1"/>
          </p:cNvSpPr>
          <p:nvPr>
            <p:ph type="ftr" sz="quarter" idx="11"/>
          </p:nvPr>
        </p:nvSpPr>
        <p:spPr>
          <a:xfrm>
            <a:off x="1483255" y="6356364"/>
            <a:ext cx="9762066" cy="365125"/>
          </a:xfrm>
        </p:spPr>
        <p:txBody>
          <a:bodyPr/>
          <a:lstStyle/>
          <a:p>
            <a:pPr defTabSz="455981"/>
            <a:r>
              <a:rPr lang="en-US" dirty="0">
                <a:solidFill>
                  <a:prstClr val="black">
                    <a:tint val="75000"/>
                  </a:prstClr>
                </a:solidFill>
                <a:latin typeface="Calibri"/>
              </a:rPr>
              <a:t>CONFIDENTIALITY NOTICE: This document is privileged and confidential under the Illinois Medical Studies Act and should not be shared or distributed other than through the Rush University Medical Center quality improvement committee structure.</a:t>
            </a:r>
          </a:p>
        </p:txBody>
      </p:sp>
    </p:spTree>
    <p:extLst>
      <p:ext uri="{BB962C8B-B14F-4D97-AF65-F5344CB8AC3E}">
        <p14:creationId xmlns:p14="http://schemas.microsoft.com/office/powerpoint/2010/main" val="206161554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8ED8D-9652-4405-BB17-A26822260243}"/>
              </a:ext>
            </a:extLst>
          </p:cNvPr>
          <p:cNvSpPr>
            <a:spLocks noGrp="1"/>
          </p:cNvSpPr>
          <p:nvPr>
            <p:ph type="title"/>
          </p:nvPr>
        </p:nvSpPr>
        <p:spPr>
          <a:xfrm>
            <a:off x="611030" y="274638"/>
            <a:ext cx="4673759" cy="1143000"/>
          </a:xfrm>
        </p:spPr>
        <p:txBody>
          <a:bodyPr/>
          <a:lstStyle/>
          <a:p>
            <a:r>
              <a:rPr lang="en-US" b="1" dirty="0"/>
              <a:t>Sustainability Plan</a:t>
            </a:r>
            <a:endParaRPr lang="en-US" dirty="0"/>
          </a:p>
        </p:txBody>
      </p:sp>
      <p:sp>
        <p:nvSpPr>
          <p:cNvPr id="3" name="Content Placeholder 2">
            <a:extLst>
              <a:ext uri="{FF2B5EF4-FFF2-40B4-BE49-F238E27FC236}">
                <a16:creationId xmlns:a16="http://schemas.microsoft.com/office/drawing/2014/main" id="{B6B6B057-87E2-432D-9020-0503654B28DB}"/>
              </a:ext>
            </a:extLst>
          </p:cNvPr>
          <p:cNvSpPr>
            <a:spLocks noGrp="1"/>
          </p:cNvSpPr>
          <p:nvPr>
            <p:ph idx="1"/>
          </p:nvPr>
        </p:nvSpPr>
        <p:spPr/>
        <p:txBody>
          <a:bodyPr>
            <a:normAutofit/>
          </a:bodyPr>
          <a:lstStyle/>
          <a:p>
            <a:r>
              <a:rPr lang="en-US" dirty="0"/>
              <a:t>Process to review “missed opportunities” for babies who received antibiotics longer than needed </a:t>
            </a:r>
          </a:p>
          <a:p>
            <a:pPr lvl="1"/>
            <a:r>
              <a:rPr lang="en-US" dirty="0"/>
              <a:t>Infectious Disease Report of antibiotics used and duration </a:t>
            </a:r>
          </a:p>
          <a:p>
            <a:pPr lvl="1"/>
            <a:r>
              <a:rPr lang="en-US" dirty="0"/>
              <a:t>Pharmacy to review patients with extended course </a:t>
            </a:r>
          </a:p>
          <a:p>
            <a:pPr lvl="1"/>
            <a:r>
              <a:rPr lang="en-US" dirty="0"/>
              <a:t>Discussion during NICU QI/PS meetings </a:t>
            </a:r>
          </a:p>
        </p:txBody>
      </p:sp>
      <p:sp>
        <p:nvSpPr>
          <p:cNvPr id="5" name="Footer Placeholder 2">
            <a:extLst>
              <a:ext uri="{FF2B5EF4-FFF2-40B4-BE49-F238E27FC236}">
                <a16:creationId xmlns:a16="http://schemas.microsoft.com/office/drawing/2014/main" id="{9347A026-7DB7-4F7A-87E7-E75535643B87}"/>
              </a:ext>
            </a:extLst>
          </p:cNvPr>
          <p:cNvSpPr>
            <a:spLocks noGrp="1"/>
          </p:cNvSpPr>
          <p:nvPr>
            <p:ph type="ftr" sz="quarter" idx="11"/>
          </p:nvPr>
        </p:nvSpPr>
        <p:spPr>
          <a:xfrm>
            <a:off x="1483255" y="6356364"/>
            <a:ext cx="9762066" cy="365125"/>
          </a:xfrm>
        </p:spPr>
        <p:txBody>
          <a:bodyPr/>
          <a:lstStyle/>
          <a:p>
            <a:pPr defTabSz="455981"/>
            <a:r>
              <a:rPr lang="en-US" dirty="0">
                <a:solidFill>
                  <a:prstClr val="black">
                    <a:tint val="75000"/>
                  </a:prstClr>
                </a:solidFill>
                <a:latin typeface="Calibri"/>
              </a:rPr>
              <a:t>CONFIDENTIALITY NOTICE: This document is privileged and confidential under the Illinois Medical Studies Act and should not be shared or distributed other than through the Rush University Medical Center quality improvement committee structure.</a:t>
            </a:r>
          </a:p>
        </p:txBody>
      </p:sp>
    </p:spTree>
    <p:extLst>
      <p:ext uri="{BB962C8B-B14F-4D97-AF65-F5344CB8AC3E}">
        <p14:creationId xmlns:p14="http://schemas.microsoft.com/office/powerpoint/2010/main" val="351086412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8ED8D-9652-4405-BB17-A26822260243}"/>
              </a:ext>
            </a:extLst>
          </p:cNvPr>
          <p:cNvSpPr>
            <a:spLocks noGrp="1"/>
          </p:cNvSpPr>
          <p:nvPr>
            <p:ph type="title"/>
          </p:nvPr>
        </p:nvSpPr>
        <p:spPr>
          <a:xfrm>
            <a:off x="611030" y="274638"/>
            <a:ext cx="4673759" cy="1143000"/>
          </a:xfrm>
        </p:spPr>
        <p:txBody>
          <a:bodyPr/>
          <a:lstStyle/>
          <a:p>
            <a:r>
              <a:rPr lang="en-US" b="1" dirty="0"/>
              <a:t>Sustainability Plan</a:t>
            </a:r>
            <a:endParaRPr lang="en-US" dirty="0"/>
          </a:p>
        </p:txBody>
      </p:sp>
      <p:sp>
        <p:nvSpPr>
          <p:cNvPr id="3" name="Content Placeholder 2">
            <a:extLst>
              <a:ext uri="{FF2B5EF4-FFF2-40B4-BE49-F238E27FC236}">
                <a16:creationId xmlns:a16="http://schemas.microsoft.com/office/drawing/2014/main" id="{B6B6B057-87E2-432D-9020-0503654B28DB}"/>
              </a:ext>
            </a:extLst>
          </p:cNvPr>
          <p:cNvSpPr>
            <a:spLocks noGrp="1"/>
          </p:cNvSpPr>
          <p:nvPr>
            <p:ph idx="1"/>
          </p:nvPr>
        </p:nvSpPr>
        <p:spPr/>
        <p:txBody>
          <a:bodyPr>
            <a:normAutofit/>
          </a:bodyPr>
          <a:lstStyle/>
          <a:p>
            <a:r>
              <a:rPr lang="en-US" dirty="0"/>
              <a:t>Balancing Measures</a:t>
            </a:r>
          </a:p>
          <a:p>
            <a:pPr lvl="1"/>
            <a:r>
              <a:rPr lang="en-US" dirty="0"/>
              <a:t>Review infants with EOS positive cultures at NICU M&amp;M, Infection Control Meetings, and ID antibiotic exposure reports </a:t>
            </a:r>
          </a:p>
          <a:p>
            <a:pPr lvl="1"/>
            <a:r>
              <a:rPr lang="en-US" dirty="0"/>
              <a:t>Review infants transferred to NICU from GCN requiring </a:t>
            </a:r>
            <a:r>
              <a:rPr lang="en-US"/>
              <a:t>sepsis evaluation </a:t>
            </a:r>
            <a:endParaRPr lang="en-US" dirty="0"/>
          </a:p>
        </p:txBody>
      </p:sp>
      <p:sp>
        <p:nvSpPr>
          <p:cNvPr id="5" name="Footer Placeholder 2">
            <a:extLst>
              <a:ext uri="{FF2B5EF4-FFF2-40B4-BE49-F238E27FC236}">
                <a16:creationId xmlns:a16="http://schemas.microsoft.com/office/drawing/2014/main" id="{00F7FF46-F269-4A67-82DA-120594004423}"/>
              </a:ext>
            </a:extLst>
          </p:cNvPr>
          <p:cNvSpPr>
            <a:spLocks noGrp="1"/>
          </p:cNvSpPr>
          <p:nvPr>
            <p:ph type="ftr" sz="quarter" idx="11"/>
          </p:nvPr>
        </p:nvSpPr>
        <p:spPr>
          <a:xfrm>
            <a:off x="1483255" y="6356364"/>
            <a:ext cx="9762066" cy="365125"/>
          </a:xfrm>
        </p:spPr>
        <p:txBody>
          <a:bodyPr/>
          <a:lstStyle/>
          <a:p>
            <a:pPr defTabSz="455981"/>
            <a:r>
              <a:rPr lang="en-US" dirty="0">
                <a:solidFill>
                  <a:prstClr val="black">
                    <a:tint val="75000"/>
                  </a:prstClr>
                </a:solidFill>
                <a:latin typeface="Calibri"/>
              </a:rPr>
              <a:t>CONFIDENTIALITY NOTICE: This document is privileged and confidential under the Illinois Medical Studies Act and should not be shared or distributed other than through the Rush University Medical Center quality improvement committee structure.</a:t>
            </a:r>
          </a:p>
        </p:txBody>
      </p:sp>
    </p:spTree>
    <p:extLst>
      <p:ext uri="{BB962C8B-B14F-4D97-AF65-F5344CB8AC3E}">
        <p14:creationId xmlns:p14="http://schemas.microsoft.com/office/powerpoint/2010/main" val="5458822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5" name="Rectangle 14">
            <a:extLst>
              <a:ext uri="{FF2B5EF4-FFF2-40B4-BE49-F238E27FC236}">
                <a16:creationId xmlns:a16="http://schemas.microsoft.com/office/drawing/2014/main" id="{FF93924A-10DF-4647-8C7A-115C0175774D}"/>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D4A8CE0-3AF0-DA9F-D67F-D35A665F92EE}"/>
              </a:ext>
            </a:extLst>
          </p:cNvPr>
          <p:cNvSpPr>
            <a:spLocks noGrp="1"/>
          </p:cNvSpPr>
          <p:nvPr>
            <p:ph type="title"/>
          </p:nvPr>
        </p:nvSpPr>
        <p:spPr>
          <a:xfrm>
            <a:off x="6551550" y="-569403"/>
            <a:ext cx="5593003" cy="2412882"/>
          </a:xfrm>
        </p:spPr>
        <p:txBody>
          <a:bodyPr anchor="b">
            <a:normAutofit/>
          </a:bodyPr>
          <a:lstStyle/>
          <a:p>
            <a:r>
              <a:rPr lang="en-US" sz="4000">
                <a:solidFill>
                  <a:schemeClr val="accent3"/>
                </a:solidFill>
                <a:ea typeface="Lato Medium"/>
                <a:cs typeface="Lato Medium"/>
              </a:rPr>
              <a:t>E.N.G.A.G.E.</a:t>
            </a:r>
            <a:r>
              <a:rPr lang="en-US" sz="4000">
                <a:ea typeface="Lato Medium"/>
                <a:cs typeface="Lato Medium"/>
              </a:rPr>
              <a:t> in ILPQC's</a:t>
            </a:r>
            <a:br>
              <a:rPr lang="en-US" sz="4000">
                <a:ea typeface="Lato Medium"/>
                <a:cs typeface="Lato Medium"/>
              </a:rPr>
            </a:br>
            <a:r>
              <a:rPr lang="en-US" sz="4000">
                <a:ea typeface="Lato Medium"/>
                <a:cs typeface="Lato Medium"/>
              </a:rPr>
              <a:t>Annual Conference 2023</a:t>
            </a:r>
            <a:endParaRPr lang="en-US" sz="4000"/>
          </a:p>
        </p:txBody>
      </p:sp>
      <p:pic>
        <p:nvPicPr>
          <p:cNvPr id="9" name="Picture 9" descr="A group of women wearing face masks&#10;&#10;Description automatically generated">
            <a:extLst>
              <a:ext uri="{FF2B5EF4-FFF2-40B4-BE49-F238E27FC236}">
                <a16:creationId xmlns:a16="http://schemas.microsoft.com/office/drawing/2014/main" id="{1D0BCDF5-EA2C-8C22-7B48-F4EB658F141A}"/>
              </a:ext>
            </a:extLst>
          </p:cNvPr>
          <p:cNvPicPr>
            <a:picLocks noChangeAspect="1"/>
          </p:cNvPicPr>
          <p:nvPr/>
        </p:nvPicPr>
        <p:blipFill rotWithShape="1">
          <a:blip r:embed="rId2"/>
          <a:srcRect r="-4" b="2788"/>
          <a:stretch/>
        </p:blipFill>
        <p:spPr>
          <a:xfrm>
            <a:off x="-1" y="10"/>
            <a:ext cx="3003123" cy="3892380"/>
          </a:xfrm>
          <a:prstGeom prst="rect">
            <a:avLst/>
          </a:prstGeom>
        </p:spPr>
      </p:pic>
      <p:pic>
        <p:nvPicPr>
          <p:cNvPr id="6" name="Picture 6" descr="A group of women wearing face masks&#10;&#10;Description automatically generated">
            <a:extLst>
              <a:ext uri="{FF2B5EF4-FFF2-40B4-BE49-F238E27FC236}">
                <a16:creationId xmlns:a16="http://schemas.microsoft.com/office/drawing/2014/main" id="{44CA967F-AF1D-ACB7-1577-47BEFBE150BD}"/>
              </a:ext>
            </a:extLst>
          </p:cNvPr>
          <p:cNvPicPr>
            <a:picLocks noChangeAspect="1"/>
          </p:cNvPicPr>
          <p:nvPr/>
        </p:nvPicPr>
        <p:blipFill rotWithShape="1">
          <a:blip r:embed="rId3"/>
          <a:srcRect l="7943" r="19786" b="-2"/>
          <a:stretch/>
        </p:blipFill>
        <p:spPr>
          <a:xfrm>
            <a:off x="3180257" y="10"/>
            <a:ext cx="3016307" cy="2785935"/>
          </a:xfrm>
          <a:prstGeom prst="rect">
            <a:avLst/>
          </a:prstGeom>
        </p:spPr>
      </p:pic>
      <p:pic>
        <p:nvPicPr>
          <p:cNvPr id="10" name="Picture 10" descr="A sign on a table with an apple&#10;&#10;Description automatically generated">
            <a:extLst>
              <a:ext uri="{FF2B5EF4-FFF2-40B4-BE49-F238E27FC236}">
                <a16:creationId xmlns:a16="http://schemas.microsoft.com/office/drawing/2014/main" id="{40D2279B-A33A-1A77-BD32-157128C03F0B}"/>
              </a:ext>
            </a:extLst>
          </p:cNvPr>
          <p:cNvPicPr>
            <a:picLocks noChangeAspect="1"/>
          </p:cNvPicPr>
          <p:nvPr/>
        </p:nvPicPr>
        <p:blipFill rotWithShape="1">
          <a:blip r:embed="rId4"/>
          <a:srcRect l="778" r="18144"/>
          <a:stretch/>
        </p:blipFill>
        <p:spPr>
          <a:xfrm>
            <a:off x="-1" y="4079988"/>
            <a:ext cx="3003123" cy="2778013"/>
          </a:xfrm>
          <a:prstGeom prst="rect">
            <a:avLst/>
          </a:prstGeom>
        </p:spPr>
      </p:pic>
      <p:pic>
        <p:nvPicPr>
          <p:cNvPr id="8" name="Picture 8" descr="A group of women posing for a photo&#10;&#10;Description automatically generated">
            <a:extLst>
              <a:ext uri="{FF2B5EF4-FFF2-40B4-BE49-F238E27FC236}">
                <a16:creationId xmlns:a16="http://schemas.microsoft.com/office/drawing/2014/main" id="{077D94BF-04DC-A5C9-ED6D-6CC55C956633}"/>
              </a:ext>
            </a:extLst>
          </p:cNvPr>
          <p:cNvPicPr>
            <a:picLocks noChangeAspect="1"/>
          </p:cNvPicPr>
          <p:nvPr/>
        </p:nvPicPr>
        <p:blipFill rotWithShape="1">
          <a:blip r:embed="rId5"/>
          <a:srcRect b="2696"/>
          <a:stretch/>
        </p:blipFill>
        <p:spPr>
          <a:xfrm>
            <a:off x="3180257" y="2957665"/>
            <a:ext cx="3016307" cy="3900335"/>
          </a:xfrm>
          <a:prstGeom prst="rect">
            <a:avLst/>
          </a:prstGeom>
        </p:spPr>
      </p:pic>
      <p:sp>
        <p:nvSpPr>
          <p:cNvPr id="3" name="Content Placeholder 2">
            <a:extLst>
              <a:ext uri="{FF2B5EF4-FFF2-40B4-BE49-F238E27FC236}">
                <a16:creationId xmlns:a16="http://schemas.microsoft.com/office/drawing/2014/main" id="{FC67CAE5-425F-B4ED-CB83-F318CC4E48F1}"/>
              </a:ext>
            </a:extLst>
          </p:cNvPr>
          <p:cNvSpPr>
            <a:spLocks noGrp="1"/>
          </p:cNvSpPr>
          <p:nvPr>
            <p:ph idx="1"/>
          </p:nvPr>
        </p:nvSpPr>
        <p:spPr>
          <a:xfrm>
            <a:off x="8133059" y="1951251"/>
            <a:ext cx="2228702" cy="3178562"/>
          </a:xfrm>
        </p:spPr>
        <p:txBody>
          <a:bodyPr vert="horz" lIns="91440" tIns="45720" rIns="91440" bIns="45720" rtlCol="0" anchor="t">
            <a:noAutofit/>
          </a:bodyPr>
          <a:lstStyle/>
          <a:p>
            <a:pPr>
              <a:spcBef>
                <a:spcPts val="200"/>
              </a:spcBef>
              <a:spcAft>
                <a:spcPts val="300"/>
              </a:spcAft>
            </a:pPr>
            <a:r>
              <a:rPr lang="en-US" sz="2600" b="1">
                <a:solidFill>
                  <a:schemeClr val="accent3"/>
                </a:solidFill>
                <a:ea typeface="Lato"/>
                <a:cs typeface="Lato"/>
              </a:rPr>
              <a:t>Exchange</a:t>
            </a:r>
            <a:endParaRPr lang="en-US" sz="2600" b="1">
              <a:solidFill>
                <a:schemeClr val="accent3"/>
              </a:solidFill>
            </a:endParaRPr>
          </a:p>
          <a:p>
            <a:pPr>
              <a:spcBef>
                <a:spcPts val="200"/>
              </a:spcBef>
              <a:spcAft>
                <a:spcPts val="300"/>
              </a:spcAft>
            </a:pPr>
            <a:r>
              <a:rPr lang="en-US" sz="2600" b="1">
                <a:solidFill>
                  <a:schemeClr val="accent3"/>
                </a:solidFill>
                <a:ea typeface="Lato"/>
                <a:cs typeface="Lato"/>
              </a:rPr>
              <a:t>Network </a:t>
            </a:r>
          </a:p>
          <a:p>
            <a:pPr>
              <a:spcBef>
                <a:spcPts val="200"/>
              </a:spcBef>
              <a:spcAft>
                <a:spcPts val="300"/>
              </a:spcAft>
            </a:pPr>
            <a:r>
              <a:rPr lang="en-US" sz="2600" b="1">
                <a:solidFill>
                  <a:schemeClr val="accent3"/>
                </a:solidFill>
                <a:ea typeface="Lato"/>
                <a:cs typeface="Lato"/>
              </a:rPr>
              <a:t>Gain</a:t>
            </a:r>
          </a:p>
          <a:p>
            <a:pPr>
              <a:spcBef>
                <a:spcPts val="200"/>
              </a:spcBef>
              <a:spcAft>
                <a:spcPts val="300"/>
              </a:spcAft>
            </a:pPr>
            <a:r>
              <a:rPr lang="en-US" sz="2600" b="1">
                <a:solidFill>
                  <a:schemeClr val="accent3"/>
                </a:solidFill>
                <a:ea typeface="Lato"/>
                <a:cs typeface="Lato"/>
              </a:rPr>
              <a:t>Apply</a:t>
            </a:r>
          </a:p>
          <a:p>
            <a:pPr>
              <a:spcBef>
                <a:spcPts val="200"/>
              </a:spcBef>
              <a:spcAft>
                <a:spcPts val="300"/>
              </a:spcAft>
            </a:pPr>
            <a:r>
              <a:rPr lang="en-US" sz="2600" b="1">
                <a:solidFill>
                  <a:schemeClr val="accent3"/>
                </a:solidFill>
                <a:ea typeface="Lato"/>
                <a:cs typeface="Lato"/>
              </a:rPr>
              <a:t>Gather</a:t>
            </a:r>
          </a:p>
          <a:p>
            <a:pPr>
              <a:spcBef>
                <a:spcPts val="200"/>
              </a:spcBef>
              <a:spcAft>
                <a:spcPts val="300"/>
              </a:spcAft>
            </a:pPr>
            <a:r>
              <a:rPr lang="en-US" sz="2600" b="1">
                <a:solidFill>
                  <a:schemeClr val="accent3"/>
                </a:solidFill>
                <a:ea typeface="Lato"/>
                <a:cs typeface="Lato"/>
              </a:rPr>
              <a:t>Energize</a:t>
            </a:r>
            <a:r>
              <a:rPr lang="en-US" sz="2350">
                <a:ea typeface="Lato"/>
                <a:cs typeface="Lato"/>
              </a:rPr>
              <a:t> </a:t>
            </a:r>
            <a:endParaRPr lang="en-US" sz="2350"/>
          </a:p>
        </p:txBody>
      </p:sp>
      <p:sp>
        <p:nvSpPr>
          <p:cNvPr id="4" name="Slide Number Placeholder 3">
            <a:extLst>
              <a:ext uri="{FF2B5EF4-FFF2-40B4-BE49-F238E27FC236}">
                <a16:creationId xmlns:a16="http://schemas.microsoft.com/office/drawing/2014/main" id="{11B85B93-1806-115B-7B3D-5A4A8B1F2526}"/>
              </a:ext>
            </a:extLst>
          </p:cNvPr>
          <p:cNvSpPr>
            <a:spLocks noGrp="1"/>
          </p:cNvSpPr>
          <p:nvPr>
            <p:ph type="sldNum" sz="quarter" idx="10"/>
          </p:nvPr>
        </p:nvSpPr>
        <p:spPr>
          <a:xfrm>
            <a:off x="10666350" y="6356350"/>
            <a:ext cx="687450" cy="365125"/>
          </a:xfrm>
        </p:spPr>
        <p:txBody>
          <a:bodyPr>
            <a:normAutofit/>
          </a:bodyPr>
          <a:lstStyle/>
          <a:p>
            <a:pPr>
              <a:spcAft>
                <a:spcPts val="600"/>
              </a:spcAft>
            </a:pPr>
            <a:fld id="{97033E4B-E3EB-3D46-B2D8-3159663620FA}" type="slidenum">
              <a:rPr lang="en-US" smtClean="0"/>
              <a:pPr>
                <a:spcAft>
                  <a:spcPts val="600"/>
                </a:spcAft>
              </a:pPr>
              <a:t>4</a:t>
            </a:fld>
            <a:endParaRPr lang="en-US"/>
          </a:p>
        </p:txBody>
      </p:sp>
      <p:sp>
        <p:nvSpPr>
          <p:cNvPr id="7" name="TextBox 6">
            <a:extLst>
              <a:ext uri="{FF2B5EF4-FFF2-40B4-BE49-F238E27FC236}">
                <a16:creationId xmlns:a16="http://schemas.microsoft.com/office/drawing/2014/main" id="{A18ABC73-DBB3-7385-B66F-07989FEF8551}"/>
              </a:ext>
            </a:extLst>
          </p:cNvPr>
          <p:cNvSpPr txBox="1"/>
          <p:nvPr/>
        </p:nvSpPr>
        <p:spPr>
          <a:xfrm>
            <a:off x="6500191" y="5277678"/>
            <a:ext cx="2743200" cy="45720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
        <p:nvSpPr>
          <p:cNvPr id="11" name="TextBox 10">
            <a:extLst>
              <a:ext uri="{FF2B5EF4-FFF2-40B4-BE49-F238E27FC236}">
                <a16:creationId xmlns:a16="http://schemas.microsoft.com/office/drawing/2014/main" id="{A3194FC7-204E-107F-23FB-A58A3461F076}"/>
              </a:ext>
            </a:extLst>
          </p:cNvPr>
          <p:cNvSpPr txBox="1"/>
          <p:nvPr/>
        </p:nvSpPr>
        <p:spPr>
          <a:xfrm>
            <a:off x="6498940" y="4898710"/>
            <a:ext cx="5710248" cy="138499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800" b="1">
                <a:solidFill>
                  <a:schemeClr val="accent1"/>
                </a:solidFill>
                <a:ea typeface="Calibri"/>
                <a:cs typeface="Calibri"/>
              </a:rPr>
              <a:t>Make sure at least one physician champion and one nurse champion are there to represent your hospital. </a:t>
            </a:r>
            <a:r>
              <a:rPr lang="en-US">
                <a:ea typeface="Calibri"/>
                <a:cs typeface="Calibri"/>
              </a:rPr>
              <a:t> </a:t>
            </a:r>
            <a:endParaRPr lang="en-US">
              <a:cs typeface="Calibri"/>
            </a:endParaRPr>
          </a:p>
        </p:txBody>
      </p:sp>
    </p:spTree>
    <p:extLst>
      <p:ext uri="{BB962C8B-B14F-4D97-AF65-F5344CB8AC3E}">
        <p14:creationId xmlns:p14="http://schemas.microsoft.com/office/powerpoint/2010/main" val="364292815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le 3"/>
          <p:cNvSpPr>
            <a:spLocks noGrp="1"/>
          </p:cNvSpPr>
          <p:nvPr>
            <p:ph type="ctrTitle"/>
          </p:nvPr>
        </p:nvSpPr>
        <p:spPr>
          <a:xfrm>
            <a:off x="282348" y="142322"/>
            <a:ext cx="11059685" cy="1124262"/>
          </a:xfrm>
        </p:spPr>
        <p:txBody>
          <a:bodyPr>
            <a:normAutofit fontScale="90000"/>
          </a:bodyPr>
          <a:lstStyle/>
          <a:p>
            <a:pPr algn="l"/>
            <a:r>
              <a:rPr lang="en-US" sz="4000" b="1" dirty="0"/>
              <a:t>Our team will keep an eye on the </a:t>
            </a:r>
            <a:br>
              <a:rPr lang="en-US" sz="4000" b="1" dirty="0"/>
            </a:br>
            <a:r>
              <a:rPr lang="en-US" sz="4000" b="1" dirty="0">
                <a:solidFill>
                  <a:srgbClr val="00B050"/>
                </a:solidFill>
              </a:rPr>
              <a:t>BASIC</a:t>
            </a:r>
            <a:r>
              <a:rPr lang="en-US" sz="4000" b="1" dirty="0"/>
              <a:t>s</a:t>
            </a:r>
          </a:p>
        </p:txBody>
      </p:sp>
      <p:sp>
        <p:nvSpPr>
          <p:cNvPr id="5" name="TextBox 4">
            <a:extLst>
              <a:ext uri="{FF2B5EF4-FFF2-40B4-BE49-F238E27FC236}">
                <a16:creationId xmlns:a16="http://schemas.microsoft.com/office/drawing/2014/main" id="{DE3B73CF-00AD-4EE5-85C3-849B06BC830A}"/>
              </a:ext>
            </a:extLst>
          </p:cNvPr>
          <p:cNvSpPr txBox="1"/>
          <p:nvPr/>
        </p:nvSpPr>
        <p:spPr>
          <a:xfrm>
            <a:off x="110237" y="1408906"/>
            <a:ext cx="11820698" cy="4662815"/>
          </a:xfrm>
          <a:prstGeom prst="rect">
            <a:avLst/>
          </a:prstGeom>
          <a:noFill/>
        </p:spPr>
        <p:txBody>
          <a:bodyPr wrap="square" rtlCol="0">
            <a:spAutoFit/>
          </a:bodyPr>
          <a:lstStyle/>
          <a:p>
            <a:pPr marL="685800" indent="-685800" defTabSz="455981">
              <a:buFont typeface="Arial" panose="020B0604020202020204" pitchFamily="34" charset="0"/>
              <a:buChar char="•"/>
            </a:pPr>
            <a:r>
              <a:rPr lang="en-US" sz="2700" b="1" dirty="0">
                <a:solidFill>
                  <a:prstClr val="black"/>
                </a:solidFill>
                <a:latin typeface="Calibri" panose="020F0502020204030204" pitchFamily="34" charset="0"/>
                <a:cs typeface="Calibri" panose="020F0502020204030204" pitchFamily="34" charset="0"/>
              </a:rPr>
              <a:t>Denise Banton, </a:t>
            </a:r>
            <a:r>
              <a:rPr lang="en-US" sz="2700" dirty="0">
                <a:solidFill>
                  <a:prstClr val="black"/>
                </a:solidFill>
                <a:latin typeface="Calibri" panose="020F0502020204030204" pitchFamily="34" charset="0"/>
                <a:cs typeface="Calibri" panose="020F0502020204030204" pitchFamily="34" charset="0"/>
              </a:rPr>
              <a:t>MS, CPPS, CNL, CEFM, RNC-OB: Director 8 Atrium, L&amp;D Units</a:t>
            </a:r>
          </a:p>
          <a:p>
            <a:pPr marL="685800" indent="-685800" defTabSz="455981">
              <a:buFont typeface="Arial" panose="020B0604020202020204" pitchFamily="34" charset="0"/>
              <a:buChar char="•"/>
            </a:pPr>
            <a:r>
              <a:rPr lang="en-US" sz="2700" b="1" dirty="0">
                <a:solidFill>
                  <a:prstClr val="black"/>
                </a:solidFill>
                <a:latin typeface="Calibri" panose="020F0502020204030204" pitchFamily="34" charset="0"/>
                <a:cs typeface="Calibri" panose="020F0502020204030204" pitchFamily="34" charset="0"/>
              </a:rPr>
              <a:t>Andrew Berenz</a:t>
            </a:r>
            <a:r>
              <a:rPr lang="en-US" sz="2700" dirty="0">
                <a:solidFill>
                  <a:prstClr val="black"/>
                </a:solidFill>
                <a:latin typeface="Calibri" panose="020F0502020204030204" pitchFamily="34" charset="0"/>
                <a:cs typeface="Calibri" panose="020F0502020204030204" pitchFamily="34" charset="0"/>
              </a:rPr>
              <a:t>, MD: Associate Medical Director, NICU; Interim General Care Nursery Medical Director </a:t>
            </a:r>
          </a:p>
          <a:p>
            <a:pPr marL="685800" indent="-685800" defTabSz="455981">
              <a:buFont typeface="Arial" panose="020B0604020202020204" pitchFamily="34" charset="0"/>
              <a:buChar char="•"/>
            </a:pPr>
            <a:r>
              <a:rPr lang="en-US" sz="2700" b="1" dirty="0">
                <a:solidFill>
                  <a:prstClr val="black"/>
                </a:solidFill>
                <a:latin typeface="Calibri" panose="020F0502020204030204" pitchFamily="34" charset="0"/>
                <a:cs typeface="Calibri" panose="020F0502020204030204" pitchFamily="34" charset="0"/>
              </a:rPr>
              <a:t>Adelaide Caprio, </a:t>
            </a:r>
            <a:r>
              <a:rPr lang="en-US" sz="2700" dirty="0">
                <a:solidFill>
                  <a:prstClr val="black"/>
                </a:solidFill>
                <a:latin typeface="Calibri" panose="020F0502020204030204" pitchFamily="34" charset="0"/>
                <a:cs typeface="Calibri" panose="020F0502020204030204" pitchFamily="34" charset="0"/>
              </a:rPr>
              <a:t>MSN, APN, ACCNS-N, RNC-NIC: Clinical Nurse Specialist, NICU</a:t>
            </a:r>
          </a:p>
          <a:p>
            <a:pPr marL="685800" indent="-685800" defTabSz="455981">
              <a:buFont typeface="Arial" panose="020B0604020202020204" pitchFamily="34" charset="0"/>
              <a:buChar char="•"/>
            </a:pPr>
            <a:r>
              <a:rPr lang="en-US" sz="2700" b="1" dirty="0" err="1">
                <a:solidFill>
                  <a:prstClr val="black"/>
                </a:solidFill>
                <a:latin typeface="Calibri" panose="020F0502020204030204" pitchFamily="34" charset="0"/>
                <a:cs typeface="Calibri" panose="020F0502020204030204" pitchFamily="34" charset="0"/>
              </a:rPr>
              <a:t>Genna</a:t>
            </a:r>
            <a:r>
              <a:rPr lang="en-US" sz="2700" b="1" dirty="0">
                <a:solidFill>
                  <a:prstClr val="black"/>
                </a:solidFill>
                <a:latin typeface="Calibri" panose="020F0502020204030204" pitchFamily="34" charset="0"/>
                <a:cs typeface="Calibri" panose="020F0502020204030204" pitchFamily="34" charset="0"/>
              </a:rPr>
              <a:t> Galura, </a:t>
            </a:r>
            <a:r>
              <a:rPr lang="en-US" sz="2700" dirty="0">
                <a:solidFill>
                  <a:prstClr val="black"/>
                </a:solidFill>
                <a:latin typeface="Calibri" panose="020F0502020204030204" pitchFamily="34" charset="0"/>
                <a:cs typeface="Calibri" panose="020F0502020204030204" pitchFamily="34" charset="0"/>
              </a:rPr>
              <a:t>Pharm D: NICU Pharmacist</a:t>
            </a:r>
          </a:p>
          <a:p>
            <a:pPr marL="685800" indent="-685800" defTabSz="455981">
              <a:buFont typeface="Arial" panose="020B0604020202020204" pitchFamily="34" charset="0"/>
              <a:buChar char="•"/>
            </a:pPr>
            <a:r>
              <a:rPr lang="en-US" sz="2700" b="1" dirty="0">
                <a:solidFill>
                  <a:prstClr val="black"/>
                </a:solidFill>
                <a:latin typeface="Calibri" panose="020F0502020204030204" pitchFamily="34" charset="0"/>
                <a:cs typeface="Calibri" panose="020F0502020204030204" pitchFamily="34" charset="0"/>
              </a:rPr>
              <a:t>Raymond Garay, </a:t>
            </a:r>
            <a:r>
              <a:rPr lang="en-US" sz="2700" dirty="0">
                <a:solidFill>
                  <a:prstClr val="black"/>
                </a:solidFill>
                <a:latin typeface="Calibri" panose="020F0502020204030204" pitchFamily="34" charset="0"/>
                <a:cs typeface="Calibri" panose="020F0502020204030204" pitchFamily="34" charset="0"/>
              </a:rPr>
              <a:t>APN: NICU Nurse Practitioner </a:t>
            </a:r>
          </a:p>
          <a:p>
            <a:pPr marL="685800" indent="-685800" defTabSz="455981">
              <a:buFont typeface="Arial" panose="020B0604020202020204" pitchFamily="34" charset="0"/>
              <a:buChar char="•"/>
            </a:pPr>
            <a:r>
              <a:rPr lang="en-US" sz="2700" b="1" dirty="0">
                <a:solidFill>
                  <a:prstClr val="black"/>
                </a:solidFill>
                <a:latin typeface="Calibri" panose="020F0502020204030204" pitchFamily="34" charset="0"/>
                <a:cs typeface="Calibri" panose="020F0502020204030204" pitchFamily="34" charset="0"/>
              </a:rPr>
              <a:t>Andria Hatfield, </a:t>
            </a:r>
            <a:r>
              <a:rPr lang="en-US" sz="2700" dirty="0">
                <a:solidFill>
                  <a:prstClr val="black"/>
                </a:solidFill>
                <a:latin typeface="Calibri" panose="020F0502020204030204" pitchFamily="34" charset="0"/>
                <a:cs typeface="Calibri" panose="020F0502020204030204" pitchFamily="34" charset="0"/>
              </a:rPr>
              <a:t>MBA, BSN, RN, CNML: Interim</a:t>
            </a:r>
            <a:r>
              <a:rPr lang="en-US" sz="2700" b="1" dirty="0">
                <a:solidFill>
                  <a:prstClr val="black"/>
                </a:solidFill>
                <a:latin typeface="Calibri" panose="020F0502020204030204" pitchFamily="34" charset="0"/>
                <a:cs typeface="Calibri" panose="020F0502020204030204" pitchFamily="34" charset="0"/>
              </a:rPr>
              <a:t> </a:t>
            </a:r>
            <a:r>
              <a:rPr lang="en-US" sz="2700" dirty="0">
                <a:solidFill>
                  <a:prstClr val="black"/>
                </a:solidFill>
                <a:latin typeface="Calibri" panose="020F0502020204030204" pitchFamily="34" charset="0"/>
                <a:cs typeface="Calibri" panose="020F0502020204030204" pitchFamily="34" charset="0"/>
              </a:rPr>
              <a:t>Unit Director – NICU</a:t>
            </a:r>
          </a:p>
          <a:p>
            <a:pPr marL="685800" indent="-685800" defTabSz="455981">
              <a:buFont typeface="Arial" panose="020B0604020202020204" pitchFamily="34" charset="0"/>
              <a:buChar char="•"/>
            </a:pPr>
            <a:r>
              <a:rPr lang="en-US" sz="2700" b="1" dirty="0">
                <a:solidFill>
                  <a:prstClr val="black"/>
                </a:solidFill>
                <a:latin typeface="Calibri" panose="020F0502020204030204" pitchFamily="34" charset="0"/>
                <a:cs typeface="Calibri" panose="020F0502020204030204" pitchFamily="34" charset="0"/>
              </a:rPr>
              <a:t>Colleen Nash, </a:t>
            </a:r>
            <a:r>
              <a:rPr lang="en-US" sz="2700" dirty="0">
                <a:solidFill>
                  <a:prstClr val="black"/>
                </a:solidFill>
                <a:latin typeface="Calibri" panose="020F0502020204030204" pitchFamily="34" charset="0"/>
                <a:cs typeface="Calibri" panose="020F0502020204030204" pitchFamily="34" charset="0"/>
              </a:rPr>
              <a:t>MD: Pediatric Infectious Disease</a:t>
            </a:r>
          </a:p>
          <a:p>
            <a:pPr marL="685800" indent="-685800" defTabSz="455981">
              <a:buFont typeface="Arial" panose="020B0604020202020204" pitchFamily="34" charset="0"/>
              <a:buChar char="•"/>
            </a:pPr>
            <a:r>
              <a:rPr lang="en-US" sz="2700" b="1" dirty="0">
                <a:solidFill>
                  <a:prstClr val="black"/>
                </a:solidFill>
                <a:latin typeface="Calibri" panose="020F0502020204030204" pitchFamily="34" charset="0"/>
                <a:cs typeface="Calibri" panose="020F0502020204030204" pitchFamily="34" charset="0"/>
              </a:rPr>
              <a:t>Laura Seske, </a:t>
            </a:r>
            <a:r>
              <a:rPr lang="en-US" sz="2700" dirty="0">
                <a:solidFill>
                  <a:prstClr val="black"/>
                </a:solidFill>
                <a:latin typeface="Calibri" panose="020F0502020204030204" pitchFamily="34" charset="0"/>
                <a:cs typeface="Calibri" panose="020F0502020204030204" pitchFamily="34" charset="0"/>
              </a:rPr>
              <a:t>MD, MS: Director of Quality Improvement, NICU</a:t>
            </a:r>
          </a:p>
          <a:p>
            <a:pPr marL="685800" indent="-685800" defTabSz="455981">
              <a:buFont typeface="Arial" panose="020B0604020202020204" pitchFamily="34" charset="0"/>
              <a:buChar char="•"/>
            </a:pPr>
            <a:r>
              <a:rPr lang="en-US" sz="2700" b="1" dirty="0">
                <a:solidFill>
                  <a:prstClr val="black"/>
                </a:solidFill>
                <a:latin typeface="Calibri" panose="020F0502020204030204" pitchFamily="34" charset="0"/>
                <a:cs typeface="Calibri" panose="020F0502020204030204" pitchFamily="34" charset="0"/>
              </a:rPr>
              <a:t>Jill Brak, Bryn Johnson, Amy Rodriguez: </a:t>
            </a:r>
            <a:r>
              <a:rPr lang="en-US" sz="2700" dirty="0">
                <a:solidFill>
                  <a:prstClr val="black"/>
                </a:solidFill>
                <a:latin typeface="Calibri" panose="020F0502020204030204" pitchFamily="34" charset="0"/>
                <a:cs typeface="Calibri" panose="020F0502020204030204" pitchFamily="34" charset="0"/>
              </a:rPr>
              <a:t>Data Entry Nursing Students</a:t>
            </a:r>
          </a:p>
          <a:p>
            <a:pPr defTabSz="455981"/>
            <a:endParaRPr lang="en-US" sz="2700" dirty="0">
              <a:solidFill>
                <a:prstClr val="black"/>
              </a:solidFill>
              <a:latin typeface="Calibri"/>
            </a:endParaRPr>
          </a:p>
        </p:txBody>
      </p:sp>
      <p:sp>
        <p:nvSpPr>
          <p:cNvPr id="6" name="Footer Placeholder 2">
            <a:extLst>
              <a:ext uri="{FF2B5EF4-FFF2-40B4-BE49-F238E27FC236}">
                <a16:creationId xmlns:a16="http://schemas.microsoft.com/office/drawing/2014/main" id="{C46F5185-02D3-49FB-99B4-DA57DF804F3B}"/>
              </a:ext>
            </a:extLst>
          </p:cNvPr>
          <p:cNvSpPr>
            <a:spLocks noGrp="1"/>
          </p:cNvSpPr>
          <p:nvPr>
            <p:ph type="ftr" sz="quarter" idx="11"/>
          </p:nvPr>
        </p:nvSpPr>
        <p:spPr>
          <a:xfrm>
            <a:off x="1483255" y="6356364"/>
            <a:ext cx="9762066" cy="365125"/>
          </a:xfrm>
        </p:spPr>
        <p:txBody>
          <a:bodyPr/>
          <a:lstStyle/>
          <a:p>
            <a:pPr defTabSz="455981"/>
            <a:r>
              <a:rPr lang="en-US" dirty="0">
                <a:solidFill>
                  <a:prstClr val="black">
                    <a:tint val="75000"/>
                  </a:prstClr>
                </a:solidFill>
                <a:latin typeface="Calibri"/>
              </a:rPr>
              <a:t>CONFIDENTIALITY NOTICE: This document is privileged and confidential under the Illinois Medical Studies Act and should not be shared or distributed other than through the Rush University Medical Center quality improvement committee structure.</a:t>
            </a:r>
          </a:p>
        </p:txBody>
      </p:sp>
    </p:spTree>
    <p:extLst>
      <p:ext uri="{BB962C8B-B14F-4D97-AF65-F5344CB8AC3E}">
        <p14:creationId xmlns:p14="http://schemas.microsoft.com/office/powerpoint/2010/main" val="222960295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71EB7F-D348-D96C-A566-EFA233DC49BF}"/>
              </a:ext>
            </a:extLst>
          </p:cNvPr>
          <p:cNvSpPr>
            <a:spLocks noGrp="1"/>
          </p:cNvSpPr>
          <p:nvPr>
            <p:ph type="title"/>
          </p:nvPr>
        </p:nvSpPr>
        <p:spPr/>
        <p:txBody>
          <a:bodyPr/>
          <a:lstStyle/>
          <a:p>
            <a:r>
              <a:rPr lang="en-US">
                <a:ea typeface="Lato Medium"/>
                <a:cs typeface="Lato Medium"/>
              </a:rPr>
              <a:t>BASIC Next Steps</a:t>
            </a:r>
          </a:p>
        </p:txBody>
      </p:sp>
      <p:sp>
        <p:nvSpPr>
          <p:cNvPr id="3" name="Subtitle 2">
            <a:extLst>
              <a:ext uri="{FF2B5EF4-FFF2-40B4-BE49-F238E27FC236}">
                <a16:creationId xmlns:a16="http://schemas.microsoft.com/office/drawing/2014/main" id="{70171BA8-F2C8-4DBC-F57C-D195D167AEE7}"/>
              </a:ext>
            </a:extLst>
          </p:cNvPr>
          <p:cNvSpPr>
            <a:spLocks noGrp="1"/>
          </p:cNvSpPr>
          <p:nvPr>
            <p:ph type="subTitle" idx="1"/>
          </p:nvPr>
        </p:nvSpPr>
        <p:spPr/>
        <p:txBody>
          <a:bodyPr vert="horz" lIns="91440" tIns="45720" rIns="91440" bIns="45720" rtlCol="0" anchor="t">
            <a:noAutofit/>
          </a:bodyPr>
          <a:lstStyle/>
          <a:p>
            <a:endParaRPr lang="en-US">
              <a:ea typeface="Lato"/>
              <a:cs typeface="Lato"/>
            </a:endParaRPr>
          </a:p>
        </p:txBody>
      </p:sp>
    </p:spTree>
    <p:extLst>
      <p:ext uri="{BB962C8B-B14F-4D97-AF65-F5344CB8AC3E}">
        <p14:creationId xmlns:p14="http://schemas.microsoft.com/office/powerpoint/2010/main" val="136235183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BASIC Sustainability Plans for 2023</a:t>
            </a:r>
          </a:p>
        </p:txBody>
      </p:sp>
      <p:sp>
        <p:nvSpPr>
          <p:cNvPr id="4" name="Slide Number Placeholder 3"/>
          <p:cNvSpPr>
            <a:spLocks noGrp="1"/>
          </p:cNvSpPr>
          <p:nvPr>
            <p:ph type="sldNum" sz="quarter" idx="10"/>
          </p:nvPr>
        </p:nvSpPr>
        <p:spPr/>
        <p:txBody>
          <a:bodyPr/>
          <a:lstStyle/>
          <a:p>
            <a:fld id="{97033E4B-E3EB-3D46-B2D8-3159663620FA}" type="slidenum">
              <a:rPr lang="en-US" smtClean="0"/>
              <a:pPr/>
              <a:t>42</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graphicFrame>
        <p:nvGraphicFramePr>
          <p:cNvPr id="7" name="Table 6"/>
          <p:cNvGraphicFramePr>
            <a:graphicFrameLocks noGrp="1"/>
          </p:cNvGraphicFramePr>
          <p:nvPr>
            <p:extLst>
              <p:ext uri="{D42A27DB-BD31-4B8C-83A1-F6EECF244321}">
                <p14:modId xmlns:p14="http://schemas.microsoft.com/office/powerpoint/2010/main" val="2389396933"/>
              </p:ext>
            </p:extLst>
          </p:nvPr>
        </p:nvGraphicFramePr>
        <p:xfrm>
          <a:off x="862958" y="1690688"/>
          <a:ext cx="10719442" cy="2227734"/>
        </p:xfrm>
        <a:graphic>
          <a:graphicData uri="http://schemas.openxmlformats.org/drawingml/2006/table">
            <a:tbl>
              <a:tblPr firstRow="1" bandRow="1">
                <a:tableStyleId>{5C22544A-7EE6-4342-B048-85BDC9FD1C3A}</a:tableStyleId>
              </a:tblPr>
              <a:tblGrid>
                <a:gridCol w="4158872">
                  <a:extLst>
                    <a:ext uri="{9D8B030D-6E8A-4147-A177-3AD203B41FA5}">
                      <a16:colId xmlns:a16="http://schemas.microsoft.com/office/drawing/2014/main" val="3398210833"/>
                    </a:ext>
                  </a:extLst>
                </a:gridCol>
                <a:gridCol w="6560570">
                  <a:extLst>
                    <a:ext uri="{9D8B030D-6E8A-4147-A177-3AD203B41FA5}">
                      <a16:colId xmlns:a16="http://schemas.microsoft.com/office/drawing/2014/main" val="3150091909"/>
                    </a:ext>
                  </a:extLst>
                </a:gridCol>
              </a:tblGrid>
              <a:tr h="742578">
                <a:tc>
                  <a:txBody>
                    <a:bodyPr/>
                    <a:lstStyle/>
                    <a:p>
                      <a:r>
                        <a:rPr lang="en-US" sz="2400" dirty="0"/>
                        <a:t>Month</a:t>
                      </a:r>
                    </a:p>
                  </a:txBody>
                  <a:tcPr/>
                </a:tc>
                <a:tc>
                  <a:txBody>
                    <a:bodyPr/>
                    <a:lstStyle/>
                    <a:p>
                      <a:r>
                        <a:rPr lang="en-US" sz="2400" dirty="0"/>
                        <a:t>Topic</a:t>
                      </a:r>
                    </a:p>
                  </a:txBody>
                  <a:tcPr/>
                </a:tc>
                <a:extLst>
                  <a:ext uri="{0D108BD9-81ED-4DB2-BD59-A6C34878D82A}">
                    <a16:rowId xmlns:a16="http://schemas.microsoft.com/office/drawing/2014/main" val="2218413570"/>
                  </a:ext>
                </a:extLst>
              </a:tr>
              <a:tr h="742578">
                <a:tc>
                  <a:txBody>
                    <a:bodyPr/>
                    <a:lstStyle/>
                    <a:p>
                      <a:pPr lvl="0">
                        <a:buNone/>
                      </a:pPr>
                      <a:r>
                        <a:rPr lang="en-US" sz="2400" b="1" dirty="0"/>
                        <a:t>November 2nd, 2023</a:t>
                      </a:r>
                    </a:p>
                  </a:txBody>
                  <a:tcPr/>
                </a:tc>
                <a:tc>
                  <a:txBody>
                    <a:bodyPr/>
                    <a:lstStyle/>
                    <a:p>
                      <a:r>
                        <a:rPr lang="en-US" sz="2400" dirty="0"/>
                        <a:t>ILPQC Annual Conference</a:t>
                      </a:r>
                    </a:p>
                  </a:txBody>
                  <a:tcPr/>
                </a:tc>
                <a:extLst>
                  <a:ext uri="{0D108BD9-81ED-4DB2-BD59-A6C34878D82A}">
                    <a16:rowId xmlns:a16="http://schemas.microsoft.com/office/drawing/2014/main" val="3705366813"/>
                  </a:ext>
                </a:extLst>
              </a:tr>
              <a:tr h="742578">
                <a:tc>
                  <a:txBody>
                    <a:bodyPr/>
                    <a:lstStyle/>
                    <a:p>
                      <a:r>
                        <a:rPr lang="en-US" sz="2400" b="1" dirty="0"/>
                        <a:t>November 20th,</a:t>
                      </a:r>
                      <a:r>
                        <a:rPr lang="en-US" sz="2400" b="1" baseline="0" dirty="0"/>
                        <a:t> 2023 2:00 PM</a:t>
                      </a:r>
                      <a:endParaRPr lang="en-US" sz="2400" b="1" dirty="0"/>
                    </a:p>
                  </a:txBody>
                  <a:tcPr/>
                </a:tc>
                <a:tc>
                  <a:txBody>
                    <a:bodyPr/>
                    <a:lstStyle/>
                    <a:p>
                      <a:r>
                        <a:rPr lang="en-US" sz="2400" dirty="0"/>
                        <a:t>BASIC Sustainability Call</a:t>
                      </a:r>
                    </a:p>
                  </a:txBody>
                  <a:tcPr/>
                </a:tc>
                <a:extLst>
                  <a:ext uri="{0D108BD9-81ED-4DB2-BD59-A6C34878D82A}">
                    <a16:rowId xmlns:a16="http://schemas.microsoft.com/office/drawing/2014/main" val="1810814765"/>
                  </a:ext>
                </a:extLst>
              </a:tr>
            </a:tbl>
          </a:graphicData>
        </a:graphic>
      </p:graphicFrame>
    </p:spTree>
    <p:extLst>
      <p:ext uri="{BB962C8B-B14F-4D97-AF65-F5344CB8AC3E}">
        <p14:creationId xmlns:p14="http://schemas.microsoft.com/office/powerpoint/2010/main" val="6510595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13">
            <a:extLst>
              <a:ext uri="{FF2B5EF4-FFF2-40B4-BE49-F238E27FC236}">
                <a16:creationId xmlns:a16="http://schemas.microsoft.com/office/drawing/2014/main" id="{2E442304-DDBD-4F7B-8017-36BCC863FB40}"/>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7">
            <a:extLst>
              <a:ext uri="{FF2B5EF4-FFF2-40B4-BE49-F238E27FC236}">
                <a16:creationId xmlns:a16="http://schemas.microsoft.com/office/drawing/2014/main" id="{6C9B693A-1E47-117F-A949-26C285E5F50E}"/>
              </a:ext>
            </a:extLst>
          </p:cNvPr>
          <p:cNvSpPr>
            <a:spLocks noGrp="1"/>
          </p:cNvSpPr>
          <p:nvPr>
            <p:ph type="title"/>
          </p:nvPr>
        </p:nvSpPr>
        <p:spPr>
          <a:xfrm>
            <a:off x="620623" y="65729"/>
            <a:ext cx="3418659" cy="5583148"/>
          </a:xfrm>
        </p:spPr>
        <p:txBody>
          <a:bodyPr anchor="ctr">
            <a:normAutofit/>
          </a:bodyPr>
          <a:lstStyle/>
          <a:p>
            <a:r>
              <a:rPr lang="en-US" sz="5400">
                <a:ea typeface="Lato Medium"/>
                <a:cs typeface="Lato Medium"/>
              </a:rPr>
              <a:t>Upcoming Annual Conference Prep</a:t>
            </a:r>
            <a:endParaRPr lang="en-US" sz="5400"/>
          </a:p>
        </p:txBody>
      </p:sp>
      <p:sp>
        <p:nvSpPr>
          <p:cNvPr id="16" name="sketch line">
            <a:extLst>
              <a:ext uri="{FF2B5EF4-FFF2-40B4-BE49-F238E27FC236}">
                <a16:creationId xmlns:a16="http://schemas.microsoft.com/office/drawing/2014/main" id="{5E107275-3853-46FD-A241-DE4355A42675}"/>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1627450" y="3462719"/>
            <a:ext cx="5410200" cy="18288"/>
          </a:xfrm>
          <a:custGeom>
            <a:avLst/>
            <a:gdLst>
              <a:gd name="connsiteX0" fmla="*/ 0 w 5410200"/>
              <a:gd name="connsiteY0" fmla="*/ 0 h 18288"/>
              <a:gd name="connsiteX1" fmla="*/ 568071 w 5410200"/>
              <a:gd name="connsiteY1" fmla="*/ 0 h 18288"/>
              <a:gd name="connsiteX2" fmla="*/ 1298448 w 5410200"/>
              <a:gd name="connsiteY2" fmla="*/ 0 h 18288"/>
              <a:gd name="connsiteX3" fmla="*/ 1920621 w 5410200"/>
              <a:gd name="connsiteY3" fmla="*/ 0 h 18288"/>
              <a:gd name="connsiteX4" fmla="*/ 2488692 w 5410200"/>
              <a:gd name="connsiteY4" fmla="*/ 0 h 18288"/>
              <a:gd name="connsiteX5" fmla="*/ 3219069 w 5410200"/>
              <a:gd name="connsiteY5" fmla="*/ 0 h 18288"/>
              <a:gd name="connsiteX6" fmla="*/ 3895344 w 5410200"/>
              <a:gd name="connsiteY6" fmla="*/ 0 h 18288"/>
              <a:gd name="connsiteX7" fmla="*/ 4571619 w 5410200"/>
              <a:gd name="connsiteY7" fmla="*/ 0 h 18288"/>
              <a:gd name="connsiteX8" fmla="*/ 5410200 w 5410200"/>
              <a:gd name="connsiteY8" fmla="*/ 0 h 18288"/>
              <a:gd name="connsiteX9" fmla="*/ 5410200 w 5410200"/>
              <a:gd name="connsiteY9" fmla="*/ 18288 h 18288"/>
              <a:gd name="connsiteX10" fmla="*/ 4842129 w 5410200"/>
              <a:gd name="connsiteY10" fmla="*/ 18288 h 18288"/>
              <a:gd name="connsiteX11" fmla="*/ 4328160 w 5410200"/>
              <a:gd name="connsiteY11" fmla="*/ 18288 h 18288"/>
              <a:gd name="connsiteX12" fmla="*/ 3597783 w 5410200"/>
              <a:gd name="connsiteY12" fmla="*/ 18288 h 18288"/>
              <a:gd name="connsiteX13" fmla="*/ 3029712 w 5410200"/>
              <a:gd name="connsiteY13" fmla="*/ 18288 h 18288"/>
              <a:gd name="connsiteX14" fmla="*/ 2299335 w 5410200"/>
              <a:gd name="connsiteY14" fmla="*/ 18288 h 18288"/>
              <a:gd name="connsiteX15" fmla="*/ 1514856 w 5410200"/>
              <a:gd name="connsiteY15" fmla="*/ 18288 h 18288"/>
              <a:gd name="connsiteX16" fmla="*/ 892683 w 5410200"/>
              <a:gd name="connsiteY16" fmla="*/ 18288 h 18288"/>
              <a:gd name="connsiteX17" fmla="*/ 0 w 5410200"/>
              <a:gd name="connsiteY17" fmla="*/ 18288 h 18288"/>
              <a:gd name="connsiteX18" fmla="*/ 0 w 5410200"/>
              <a:gd name="connsiteY18"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410200" h="18288" fill="none" extrusionOk="0">
                <a:moveTo>
                  <a:pt x="0" y="0"/>
                </a:moveTo>
                <a:cubicBezTo>
                  <a:pt x="163050" y="-18707"/>
                  <a:pt x="319321" y="-16364"/>
                  <a:pt x="568071" y="0"/>
                </a:cubicBezTo>
                <a:cubicBezTo>
                  <a:pt x="816821" y="16364"/>
                  <a:pt x="1013224" y="-7268"/>
                  <a:pt x="1298448" y="0"/>
                </a:cubicBezTo>
                <a:cubicBezTo>
                  <a:pt x="1583672" y="7268"/>
                  <a:pt x="1631711" y="-3367"/>
                  <a:pt x="1920621" y="0"/>
                </a:cubicBezTo>
                <a:cubicBezTo>
                  <a:pt x="2209531" y="3367"/>
                  <a:pt x="2364420" y="-19184"/>
                  <a:pt x="2488692" y="0"/>
                </a:cubicBezTo>
                <a:cubicBezTo>
                  <a:pt x="2612964" y="19184"/>
                  <a:pt x="3023298" y="-34627"/>
                  <a:pt x="3219069" y="0"/>
                </a:cubicBezTo>
                <a:cubicBezTo>
                  <a:pt x="3414840" y="34627"/>
                  <a:pt x="3656810" y="24043"/>
                  <a:pt x="3895344" y="0"/>
                </a:cubicBezTo>
                <a:cubicBezTo>
                  <a:pt x="4133879" y="-24043"/>
                  <a:pt x="4393984" y="-19577"/>
                  <a:pt x="4571619" y="0"/>
                </a:cubicBezTo>
                <a:cubicBezTo>
                  <a:pt x="4749255" y="19577"/>
                  <a:pt x="5179928" y="-6281"/>
                  <a:pt x="5410200" y="0"/>
                </a:cubicBezTo>
                <a:cubicBezTo>
                  <a:pt x="5410730" y="6954"/>
                  <a:pt x="5410934" y="12839"/>
                  <a:pt x="5410200" y="18288"/>
                </a:cubicBezTo>
                <a:cubicBezTo>
                  <a:pt x="5139060" y="6751"/>
                  <a:pt x="5121593" y="31035"/>
                  <a:pt x="4842129" y="18288"/>
                </a:cubicBezTo>
                <a:cubicBezTo>
                  <a:pt x="4562665" y="5541"/>
                  <a:pt x="4448273" y="9487"/>
                  <a:pt x="4328160" y="18288"/>
                </a:cubicBezTo>
                <a:cubicBezTo>
                  <a:pt x="4208047" y="27089"/>
                  <a:pt x="3760936" y="22567"/>
                  <a:pt x="3597783" y="18288"/>
                </a:cubicBezTo>
                <a:cubicBezTo>
                  <a:pt x="3434630" y="14009"/>
                  <a:pt x="3299718" y="33213"/>
                  <a:pt x="3029712" y="18288"/>
                </a:cubicBezTo>
                <a:cubicBezTo>
                  <a:pt x="2759706" y="3363"/>
                  <a:pt x="2640159" y="27394"/>
                  <a:pt x="2299335" y="18288"/>
                </a:cubicBezTo>
                <a:cubicBezTo>
                  <a:pt x="1958511" y="9182"/>
                  <a:pt x="1801186" y="28985"/>
                  <a:pt x="1514856" y="18288"/>
                </a:cubicBezTo>
                <a:cubicBezTo>
                  <a:pt x="1228526" y="7591"/>
                  <a:pt x="1063509" y="-5305"/>
                  <a:pt x="892683" y="18288"/>
                </a:cubicBezTo>
                <a:cubicBezTo>
                  <a:pt x="721857" y="41881"/>
                  <a:pt x="186945" y="-20897"/>
                  <a:pt x="0" y="18288"/>
                </a:cubicBezTo>
                <a:cubicBezTo>
                  <a:pt x="-570" y="9279"/>
                  <a:pt x="132" y="5100"/>
                  <a:pt x="0" y="0"/>
                </a:cubicBezTo>
                <a:close/>
              </a:path>
              <a:path w="5410200" h="18288" stroke="0" extrusionOk="0">
                <a:moveTo>
                  <a:pt x="0" y="0"/>
                </a:moveTo>
                <a:cubicBezTo>
                  <a:pt x="285096" y="-4925"/>
                  <a:pt x="376456" y="22268"/>
                  <a:pt x="622173" y="0"/>
                </a:cubicBezTo>
                <a:cubicBezTo>
                  <a:pt x="867890" y="-22268"/>
                  <a:pt x="1031392" y="7228"/>
                  <a:pt x="1136142" y="0"/>
                </a:cubicBezTo>
                <a:cubicBezTo>
                  <a:pt x="1240892" y="-7228"/>
                  <a:pt x="1561853" y="9877"/>
                  <a:pt x="1920621" y="0"/>
                </a:cubicBezTo>
                <a:cubicBezTo>
                  <a:pt x="2279389" y="-9877"/>
                  <a:pt x="2367255" y="19546"/>
                  <a:pt x="2542794" y="0"/>
                </a:cubicBezTo>
                <a:cubicBezTo>
                  <a:pt x="2718333" y="-19546"/>
                  <a:pt x="2866732" y="-22226"/>
                  <a:pt x="3164967" y="0"/>
                </a:cubicBezTo>
                <a:cubicBezTo>
                  <a:pt x="3463202" y="22226"/>
                  <a:pt x="3568055" y="-2765"/>
                  <a:pt x="3949446" y="0"/>
                </a:cubicBezTo>
                <a:cubicBezTo>
                  <a:pt x="4330837" y="2765"/>
                  <a:pt x="4287895" y="10557"/>
                  <a:pt x="4517517" y="0"/>
                </a:cubicBezTo>
                <a:cubicBezTo>
                  <a:pt x="4747139" y="-10557"/>
                  <a:pt x="5149588" y="8716"/>
                  <a:pt x="5410200" y="0"/>
                </a:cubicBezTo>
                <a:cubicBezTo>
                  <a:pt x="5409517" y="5414"/>
                  <a:pt x="5409480" y="12510"/>
                  <a:pt x="5410200" y="18288"/>
                </a:cubicBezTo>
                <a:cubicBezTo>
                  <a:pt x="5163327" y="41494"/>
                  <a:pt x="5008749" y="10693"/>
                  <a:pt x="4842129" y="18288"/>
                </a:cubicBezTo>
                <a:cubicBezTo>
                  <a:pt x="4675509" y="25883"/>
                  <a:pt x="4433401" y="-615"/>
                  <a:pt x="4165854" y="18288"/>
                </a:cubicBezTo>
                <a:cubicBezTo>
                  <a:pt x="3898308" y="37191"/>
                  <a:pt x="3809032" y="-8710"/>
                  <a:pt x="3543681" y="18288"/>
                </a:cubicBezTo>
                <a:cubicBezTo>
                  <a:pt x="3278330" y="45286"/>
                  <a:pt x="3073876" y="-15917"/>
                  <a:pt x="2759202" y="18288"/>
                </a:cubicBezTo>
                <a:cubicBezTo>
                  <a:pt x="2444528" y="52493"/>
                  <a:pt x="2204144" y="3372"/>
                  <a:pt x="1974723" y="18288"/>
                </a:cubicBezTo>
                <a:cubicBezTo>
                  <a:pt x="1745302" y="33204"/>
                  <a:pt x="1602335" y="31490"/>
                  <a:pt x="1406652" y="18288"/>
                </a:cubicBezTo>
                <a:cubicBezTo>
                  <a:pt x="1210969" y="5086"/>
                  <a:pt x="923948" y="3161"/>
                  <a:pt x="730377" y="18288"/>
                </a:cubicBezTo>
                <a:cubicBezTo>
                  <a:pt x="536806" y="33415"/>
                  <a:pt x="336496" y="-141"/>
                  <a:pt x="0" y="18288"/>
                </a:cubicBezTo>
                <a:cubicBezTo>
                  <a:pt x="-306" y="11061"/>
                  <a:pt x="-655" y="7751"/>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xmln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E83C49AD-CE50-FB56-CC35-DC1992B9844C}"/>
              </a:ext>
            </a:extLst>
          </p:cNvPr>
          <p:cNvSpPr>
            <a:spLocks noGrp="1"/>
          </p:cNvSpPr>
          <p:nvPr>
            <p:ph type="ftr" sz="quarter" idx="11"/>
          </p:nvPr>
        </p:nvSpPr>
        <p:spPr>
          <a:xfrm>
            <a:off x="4038600" y="6356350"/>
            <a:ext cx="4114800" cy="365125"/>
          </a:xfrm>
        </p:spPr>
        <p:txBody>
          <a:bodyPr>
            <a:normAutofit/>
          </a:bodyPr>
          <a:lstStyle/>
          <a:p>
            <a:pPr>
              <a:spcAft>
                <a:spcPts val="600"/>
              </a:spcAft>
            </a:pPr>
            <a:r>
              <a:rPr lang="en-US"/>
              <a:t>Illinois Perinatal Quality Collaborative</a:t>
            </a:r>
          </a:p>
        </p:txBody>
      </p:sp>
      <p:sp>
        <p:nvSpPr>
          <p:cNvPr id="4" name="Slide Number Placeholder 3">
            <a:extLst>
              <a:ext uri="{FF2B5EF4-FFF2-40B4-BE49-F238E27FC236}">
                <a16:creationId xmlns:a16="http://schemas.microsoft.com/office/drawing/2014/main" id="{CEED54BC-687B-95DC-B1DF-ECE635CC74C0}"/>
              </a:ext>
            </a:extLst>
          </p:cNvPr>
          <p:cNvSpPr>
            <a:spLocks noGrp="1"/>
          </p:cNvSpPr>
          <p:nvPr>
            <p:ph type="sldNum" sz="quarter" idx="10"/>
          </p:nvPr>
        </p:nvSpPr>
        <p:spPr>
          <a:xfrm>
            <a:off x="8610600" y="6356350"/>
            <a:ext cx="2743200" cy="365125"/>
          </a:xfrm>
        </p:spPr>
        <p:txBody>
          <a:bodyPr>
            <a:normAutofit/>
          </a:bodyPr>
          <a:lstStyle/>
          <a:p>
            <a:pPr>
              <a:spcAft>
                <a:spcPts val="600"/>
              </a:spcAft>
            </a:pPr>
            <a:fld id="{97033E4B-E3EB-3D46-B2D8-3159663620FA}" type="slidenum">
              <a:rPr lang="en-US" smtClean="0"/>
              <a:pPr>
                <a:spcAft>
                  <a:spcPts val="600"/>
                </a:spcAft>
              </a:pPr>
              <a:t>5</a:t>
            </a:fld>
            <a:endParaRPr lang="en-US"/>
          </a:p>
        </p:txBody>
      </p:sp>
      <p:graphicFrame>
        <p:nvGraphicFramePr>
          <p:cNvPr id="9" name="Diagram 9">
            <a:extLst>
              <a:ext uri="{FF2B5EF4-FFF2-40B4-BE49-F238E27FC236}">
                <a16:creationId xmlns:a16="http://schemas.microsoft.com/office/drawing/2014/main" id="{25EB57FC-A0C6-0042-E219-B1DF4518901B}"/>
              </a:ext>
            </a:extLst>
          </p:cNvPr>
          <p:cNvGraphicFramePr/>
          <p:nvPr>
            <p:extLst>
              <p:ext uri="{D42A27DB-BD31-4B8C-83A1-F6EECF244321}">
                <p14:modId xmlns:p14="http://schemas.microsoft.com/office/powerpoint/2010/main" val="2026497330"/>
              </p:ext>
            </p:extLst>
          </p:nvPr>
        </p:nvGraphicFramePr>
        <p:xfrm>
          <a:off x="4705527" y="554559"/>
          <a:ext cx="7101795" cy="60537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25" name="Rectangle: Rounded Corners 224">
            <a:extLst>
              <a:ext uri="{FF2B5EF4-FFF2-40B4-BE49-F238E27FC236}">
                <a16:creationId xmlns:a16="http://schemas.microsoft.com/office/drawing/2014/main" id="{CB0A0917-AFE1-6BF9-A27E-D2DD2D0CEB28}"/>
              </a:ext>
            </a:extLst>
          </p:cNvPr>
          <p:cNvSpPr/>
          <p:nvPr/>
        </p:nvSpPr>
        <p:spPr>
          <a:xfrm>
            <a:off x="255288" y="4767980"/>
            <a:ext cx="3925017" cy="1653396"/>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en-US" sz="2200" b="1">
                <a:cs typeface="Calibri"/>
              </a:rPr>
              <a:t>Data, Abstracts, &amp; AC Survey due: </a:t>
            </a:r>
          </a:p>
          <a:p>
            <a:pPr algn="ctr"/>
            <a:r>
              <a:rPr lang="en-US" sz="2200" b="1">
                <a:cs typeface="Calibri"/>
              </a:rPr>
              <a:t>Friday September 22nd, 2023</a:t>
            </a:r>
          </a:p>
        </p:txBody>
      </p:sp>
    </p:spTree>
    <p:extLst>
      <p:ext uri="{BB962C8B-B14F-4D97-AF65-F5344CB8AC3E}">
        <p14:creationId xmlns:p14="http://schemas.microsoft.com/office/powerpoint/2010/main" val="2891510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F13C74B1-5B17-4795-BED0-7140497B445A}"/>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0C8D749-49B2-A007-8DFF-3F8E29AB2FD0}"/>
              </a:ext>
            </a:extLst>
          </p:cNvPr>
          <p:cNvSpPr>
            <a:spLocks noGrp="1"/>
          </p:cNvSpPr>
          <p:nvPr>
            <p:ph type="title"/>
          </p:nvPr>
        </p:nvSpPr>
        <p:spPr>
          <a:xfrm>
            <a:off x="640080" y="325369"/>
            <a:ext cx="5375016" cy="1956841"/>
          </a:xfrm>
        </p:spPr>
        <p:txBody>
          <a:bodyPr anchor="b">
            <a:normAutofit fontScale="90000"/>
          </a:bodyPr>
          <a:lstStyle/>
          <a:p>
            <a:pPr>
              <a:lnSpc>
                <a:spcPct val="90000"/>
              </a:lnSpc>
            </a:pPr>
            <a:r>
              <a:rPr lang="en-US" sz="4200">
                <a:ea typeface="Lato Medium"/>
                <a:cs typeface="Lato Medium"/>
              </a:rPr>
              <a:t>11th Annual Conference </a:t>
            </a:r>
            <a:br>
              <a:rPr lang="en-US" sz="4200">
                <a:ea typeface="Lato Medium"/>
                <a:cs typeface="Lato Medium"/>
              </a:rPr>
            </a:br>
            <a:r>
              <a:rPr lang="en-US" sz="4200">
                <a:ea typeface="Lato Medium"/>
                <a:cs typeface="Lato Medium"/>
              </a:rPr>
              <a:t>Planning Committee Volunteers </a:t>
            </a:r>
            <a:endParaRPr lang="en-US" sz="4200"/>
          </a:p>
        </p:txBody>
      </p:sp>
      <p:sp>
        <p:nvSpPr>
          <p:cNvPr id="15" name="sketchy line">
            <a:extLst>
              <a:ext uri="{FF2B5EF4-FFF2-40B4-BE49-F238E27FC236}">
                <a16:creationId xmlns:a16="http://schemas.microsoft.com/office/drawing/2014/main" id="{D4974D33-8DC5-464E-8C6D-BE58F0669C17}"/>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0080" y="2586994"/>
            <a:ext cx="3474720" cy="18288"/>
          </a:xfrm>
          <a:custGeom>
            <a:avLst/>
            <a:gdLst>
              <a:gd name="connsiteX0" fmla="*/ 0 w 3474720"/>
              <a:gd name="connsiteY0" fmla="*/ 0 h 18288"/>
              <a:gd name="connsiteX1" fmla="*/ 694944 w 3474720"/>
              <a:gd name="connsiteY1" fmla="*/ 0 h 18288"/>
              <a:gd name="connsiteX2" fmla="*/ 1355141 w 3474720"/>
              <a:gd name="connsiteY2" fmla="*/ 0 h 18288"/>
              <a:gd name="connsiteX3" fmla="*/ 2015338 w 3474720"/>
              <a:gd name="connsiteY3" fmla="*/ 0 h 18288"/>
              <a:gd name="connsiteX4" fmla="*/ 2779776 w 3474720"/>
              <a:gd name="connsiteY4" fmla="*/ 0 h 18288"/>
              <a:gd name="connsiteX5" fmla="*/ 3474720 w 3474720"/>
              <a:gd name="connsiteY5" fmla="*/ 0 h 18288"/>
              <a:gd name="connsiteX6" fmla="*/ 3474720 w 3474720"/>
              <a:gd name="connsiteY6" fmla="*/ 18288 h 18288"/>
              <a:gd name="connsiteX7" fmla="*/ 2779776 w 3474720"/>
              <a:gd name="connsiteY7" fmla="*/ 18288 h 18288"/>
              <a:gd name="connsiteX8" fmla="*/ 2189074 w 3474720"/>
              <a:gd name="connsiteY8" fmla="*/ 18288 h 18288"/>
              <a:gd name="connsiteX9" fmla="*/ 1528877 w 3474720"/>
              <a:gd name="connsiteY9" fmla="*/ 18288 h 18288"/>
              <a:gd name="connsiteX10" fmla="*/ 868680 w 3474720"/>
              <a:gd name="connsiteY10" fmla="*/ 18288 h 18288"/>
              <a:gd name="connsiteX11" fmla="*/ 0 w 3474720"/>
              <a:gd name="connsiteY11" fmla="*/ 18288 h 18288"/>
              <a:gd name="connsiteX12" fmla="*/ 0 w 3474720"/>
              <a:gd name="connsiteY12"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4720" h="18288" fill="none" extrusionOk="0">
                <a:moveTo>
                  <a:pt x="0" y="0"/>
                </a:moveTo>
                <a:cubicBezTo>
                  <a:pt x="224454" y="-14544"/>
                  <a:pt x="495407" y="26540"/>
                  <a:pt x="694944" y="0"/>
                </a:cubicBezTo>
                <a:cubicBezTo>
                  <a:pt x="894481" y="-26540"/>
                  <a:pt x="1130063" y="24713"/>
                  <a:pt x="1355141" y="0"/>
                </a:cubicBezTo>
                <a:cubicBezTo>
                  <a:pt x="1580219" y="-24713"/>
                  <a:pt x="1820099" y="26695"/>
                  <a:pt x="2015338" y="0"/>
                </a:cubicBezTo>
                <a:cubicBezTo>
                  <a:pt x="2210577" y="-26695"/>
                  <a:pt x="2402045" y="165"/>
                  <a:pt x="2779776" y="0"/>
                </a:cubicBezTo>
                <a:cubicBezTo>
                  <a:pt x="3157507" y="-165"/>
                  <a:pt x="3286859" y="-15571"/>
                  <a:pt x="3474720" y="0"/>
                </a:cubicBezTo>
                <a:cubicBezTo>
                  <a:pt x="3474286" y="7551"/>
                  <a:pt x="3474253" y="9822"/>
                  <a:pt x="3474720" y="18288"/>
                </a:cubicBezTo>
                <a:cubicBezTo>
                  <a:pt x="3233904" y="29845"/>
                  <a:pt x="2945134" y="-5256"/>
                  <a:pt x="2779776" y="18288"/>
                </a:cubicBezTo>
                <a:cubicBezTo>
                  <a:pt x="2614418" y="41832"/>
                  <a:pt x="2339768" y="22709"/>
                  <a:pt x="2189074" y="18288"/>
                </a:cubicBezTo>
                <a:cubicBezTo>
                  <a:pt x="2038380" y="13867"/>
                  <a:pt x="1817434" y="-4947"/>
                  <a:pt x="1528877" y="18288"/>
                </a:cubicBezTo>
                <a:cubicBezTo>
                  <a:pt x="1240320" y="41523"/>
                  <a:pt x="1042447" y="37198"/>
                  <a:pt x="868680" y="18288"/>
                </a:cubicBezTo>
                <a:cubicBezTo>
                  <a:pt x="694913" y="-622"/>
                  <a:pt x="233232" y="44909"/>
                  <a:pt x="0" y="18288"/>
                </a:cubicBezTo>
                <a:cubicBezTo>
                  <a:pt x="60" y="11696"/>
                  <a:pt x="66" y="3758"/>
                  <a:pt x="0" y="0"/>
                </a:cubicBezTo>
                <a:close/>
              </a:path>
              <a:path w="3474720" h="18288" stroke="0" extrusionOk="0">
                <a:moveTo>
                  <a:pt x="0" y="0"/>
                </a:moveTo>
                <a:cubicBezTo>
                  <a:pt x="202328" y="-14716"/>
                  <a:pt x="332722" y="-11499"/>
                  <a:pt x="625450" y="0"/>
                </a:cubicBezTo>
                <a:cubicBezTo>
                  <a:pt x="918178" y="11499"/>
                  <a:pt x="1096688" y="5123"/>
                  <a:pt x="1389888" y="0"/>
                </a:cubicBezTo>
                <a:cubicBezTo>
                  <a:pt x="1683088" y="-5123"/>
                  <a:pt x="1835981" y="-14038"/>
                  <a:pt x="1980590" y="0"/>
                </a:cubicBezTo>
                <a:cubicBezTo>
                  <a:pt x="2125199" y="14038"/>
                  <a:pt x="2396099" y="-7203"/>
                  <a:pt x="2571293" y="0"/>
                </a:cubicBezTo>
                <a:cubicBezTo>
                  <a:pt x="2746487" y="7203"/>
                  <a:pt x="3041609" y="-12036"/>
                  <a:pt x="3474720" y="0"/>
                </a:cubicBezTo>
                <a:cubicBezTo>
                  <a:pt x="3474638" y="4406"/>
                  <a:pt x="3474631" y="9982"/>
                  <a:pt x="3474720" y="18288"/>
                </a:cubicBezTo>
                <a:cubicBezTo>
                  <a:pt x="3324873" y="21876"/>
                  <a:pt x="3136771" y="12587"/>
                  <a:pt x="2814523" y="18288"/>
                </a:cubicBezTo>
                <a:cubicBezTo>
                  <a:pt x="2492275" y="23989"/>
                  <a:pt x="2294402" y="47111"/>
                  <a:pt x="2154326" y="18288"/>
                </a:cubicBezTo>
                <a:cubicBezTo>
                  <a:pt x="2014250" y="-10535"/>
                  <a:pt x="1820317" y="33903"/>
                  <a:pt x="1494130" y="18288"/>
                </a:cubicBezTo>
                <a:cubicBezTo>
                  <a:pt x="1167943" y="2673"/>
                  <a:pt x="948432" y="14868"/>
                  <a:pt x="729691" y="18288"/>
                </a:cubicBezTo>
                <a:cubicBezTo>
                  <a:pt x="510950" y="21708"/>
                  <a:pt x="264032" y="24354"/>
                  <a:pt x="0" y="18288"/>
                </a:cubicBezTo>
                <a:cubicBezTo>
                  <a:pt x="189" y="14288"/>
                  <a:pt x="-703" y="3747"/>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xmlns="" sd="2863741219">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ontent Placeholder 9">
            <a:extLst>
              <a:ext uri="{FF2B5EF4-FFF2-40B4-BE49-F238E27FC236}">
                <a16:creationId xmlns:a16="http://schemas.microsoft.com/office/drawing/2014/main" id="{DF00FE42-183C-8B65-1DA4-289D0CFB7B62}"/>
              </a:ext>
            </a:extLst>
          </p:cNvPr>
          <p:cNvSpPr>
            <a:spLocks noGrp="1"/>
          </p:cNvSpPr>
          <p:nvPr>
            <p:ph idx="1"/>
          </p:nvPr>
        </p:nvSpPr>
        <p:spPr>
          <a:xfrm>
            <a:off x="640080" y="2872899"/>
            <a:ext cx="4243589" cy="3320668"/>
          </a:xfrm>
        </p:spPr>
        <p:txBody>
          <a:bodyPr vert="horz" lIns="91440" tIns="45720" rIns="91440" bIns="45720" rtlCol="0" anchor="t">
            <a:normAutofit lnSpcReduction="10000"/>
          </a:bodyPr>
          <a:lstStyle/>
          <a:p>
            <a:r>
              <a:rPr lang="en-US" b="1">
                <a:solidFill>
                  <a:schemeClr val="accent1"/>
                </a:solidFill>
                <a:ea typeface="Lato"/>
                <a:cs typeface="Lato"/>
              </a:rPr>
              <a:t>Want to join our team to help bring the ILPQC magic to life? </a:t>
            </a:r>
          </a:p>
          <a:p>
            <a:r>
              <a:rPr lang="en-US" sz="2800" b="1">
                <a:solidFill>
                  <a:schemeClr val="accent3"/>
                </a:solidFill>
                <a:ea typeface="Lato"/>
                <a:cs typeface="Lato"/>
              </a:rPr>
              <a:t>Join the Annual Conference Planning Committee! </a:t>
            </a:r>
          </a:p>
          <a:p>
            <a:r>
              <a:rPr lang="en-US" sz="2800" b="1">
                <a:solidFill>
                  <a:schemeClr val="accent1"/>
                </a:solidFill>
                <a:ea typeface="Lato"/>
                <a:cs typeface="Lato"/>
              </a:rPr>
              <a:t>Interested? Email </a:t>
            </a:r>
            <a:r>
              <a:rPr lang="en-US" sz="2800" b="1">
                <a:solidFill>
                  <a:schemeClr val="accent1"/>
                </a:solidFill>
                <a:ea typeface="Lato"/>
                <a:cs typeface="Lato"/>
                <a:hlinkClick r:id="rId2">
                  <a:extLst>
                    <a:ext uri="{A12FA001-AC4F-418D-AE19-62706E023703}">
                      <ahyp:hlinkClr xmlns:ahyp="http://schemas.microsoft.com/office/drawing/2018/hyperlinkcolor" xmlns="" val="tx"/>
                    </a:ext>
                  </a:extLst>
                </a:hlinkClick>
              </a:rPr>
              <a:t>info@ilpqc.org</a:t>
            </a:r>
          </a:p>
        </p:txBody>
      </p:sp>
      <p:pic>
        <p:nvPicPr>
          <p:cNvPr id="6" name="Picture 6" descr="Several hands raised and ready to answer a question">
            <a:extLst>
              <a:ext uri="{FF2B5EF4-FFF2-40B4-BE49-F238E27FC236}">
                <a16:creationId xmlns:a16="http://schemas.microsoft.com/office/drawing/2014/main" id="{CB785E11-3B02-6953-28F2-33B4DDC8C942}"/>
              </a:ext>
            </a:extLst>
          </p:cNvPr>
          <p:cNvPicPr>
            <a:picLocks noChangeAspect="1"/>
          </p:cNvPicPr>
          <p:nvPr/>
        </p:nvPicPr>
        <p:blipFill rotWithShape="1">
          <a:blip r:embed="rId3"/>
          <a:srcRect l="17899" r="15148" b="-1"/>
          <a:stretch/>
        </p:blipFill>
        <p:spPr>
          <a:xfrm>
            <a:off x="5311702" y="10"/>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
        <p:nvSpPr>
          <p:cNvPr id="5" name="Footer Placeholder 4">
            <a:extLst>
              <a:ext uri="{FF2B5EF4-FFF2-40B4-BE49-F238E27FC236}">
                <a16:creationId xmlns:a16="http://schemas.microsoft.com/office/drawing/2014/main" id="{BE5EA985-720D-EF1E-8F35-8CE99030E4B5}"/>
              </a:ext>
            </a:extLst>
          </p:cNvPr>
          <p:cNvSpPr>
            <a:spLocks noGrp="1"/>
          </p:cNvSpPr>
          <p:nvPr>
            <p:ph type="ftr" sz="quarter" idx="11"/>
          </p:nvPr>
        </p:nvSpPr>
        <p:spPr>
          <a:xfrm>
            <a:off x="6248400" y="6356350"/>
            <a:ext cx="4114800" cy="365125"/>
          </a:xfrm>
        </p:spPr>
        <p:txBody>
          <a:bodyPr>
            <a:normAutofit/>
          </a:bodyPr>
          <a:lstStyle/>
          <a:p>
            <a:pPr algn="l">
              <a:spcAft>
                <a:spcPts val="600"/>
              </a:spcAft>
            </a:pPr>
            <a:r>
              <a:rPr lang="en-US">
                <a:solidFill>
                  <a:srgbClr val="FFFFFF"/>
                </a:solidFill>
              </a:rPr>
              <a:t>Illinois Perinatal Quality Collaborative</a:t>
            </a:r>
          </a:p>
        </p:txBody>
      </p:sp>
      <p:sp>
        <p:nvSpPr>
          <p:cNvPr id="4" name="Slide Number Placeholder 3">
            <a:extLst>
              <a:ext uri="{FF2B5EF4-FFF2-40B4-BE49-F238E27FC236}">
                <a16:creationId xmlns:a16="http://schemas.microsoft.com/office/drawing/2014/main" id="{A5F21D11-6F39-D1A6-5D85-A7BF70DC6E83}"/>
              </a:ext>
            </a:extLst>
          </p:cNvPr>
          <p:cNvSpPr>
            <a:spLocks noGrp="1"/>
          </p:cNvSpPr>
          <p:nvPr>
            <p:ph type="sldNum" sz="quarter" idx="10"/>
          </p:nvPr>
        </p:nvSpPr>
        <p:spPr>
          <a:xfrm>
            <a:off x="10439400" y="6356350"/>
            <a:ext cx="914400" cy="365125"/>
          </a:xfrm>
        </p:spPr>
        <p:txBody>
          <a:bodyPr>
            <a:normAutofit/>
          </a:bodyPr>
          <a:lstStyle/>
          <a:p>
            <a:pPr>
              <a:spcAft>
                <a:spcPts val="600"/>
              </a:spcAft>
            </a:pPr>
            <a:fld id="{97033E4B-E3EB-3D46-B2D8-3159663620FA}" type="slidenum">
              <a:rPr lang="en-US">
                <a:solidFill>
                  <a:srgbClr val="FFFFFF"/>
                </a:solidFill>
              </a:rPr>
              <a:pPr>
                <a:spcAft>
                  <a:spcPts val="600"/>
                </a:spcAft>
              </a:pPr>
              <a:t>6</a:t>
            </a:fld>
            <a:endParaRPr lang="en-US">
              <a:solidFill>
                <a:srgbClr val="FFFFFF"/>
              </a:solidFill>
            </a:endParaRPr>
          </a:p>
        </p:txBody>
      </p:sp>
    </p:spTree>
    <p:extLst>
      <p:ext uri="{BB962C8B-B14F-4D97-AF65-F5344CB8AC3E}">
        <p14:creationId xmlns:p14="http://schemas.microsoft.com/office/powerpoint/2010/main" val="6648082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0263" y="-52274"/>
            <a:ext cx="10972800" cy="1325563"/>
          </a:xfrm>
        </p:spPr>
        <p:txBody>
          <a:bodyPr/>
          <a:lstStyle/>
          <a:p>
            <a:r>
              <a:rPr lang="en-US" dirty="0"/>
              <a:t>BASIC QI Excellence Awards</a:t>
            </a:r>
          </a:p>
        </p:txBody>
      </p:sp>
      <p:sp>
        <p:nvSpPr>
          <p:cNvPr id="3" name="Content Placeholder 2"/>
          <p:cNvSpPr>
            <a:spLocks noGrp="1"/>
          </p:cNvSpPr>
          <p:nvPr>
            <p:ph idx="1"/>
          </p:nvPr>
        </p:nvSpPr>
        <p:spPr>
          <a:xfrm>
            <a:off x="352585" y="1418567"/>
            <a:ext cx="11190478" cy="4638885"/>
          </a:xfrm>
        </p:spPr>
        <p:txBody>
          <a:bodyPr vert="horz" lIns="91440" tIns="45720" rIns="91440" bIns="45720" rtlCol="0" anchor="t">
            <a:noAutofit/>
          </a:bodyPr>
          <a:lstStyle/>
          <a:p>
            <a:pPr>
              <a:spcAft>
                <a:spcPts val="600"/>
              </a:spcAft>
            </a:pPr>
            <a:r>
              <a:rPr lang="en-US" sz="1800" dirty="0">
                <a:ea typeface="Lato"/>
                <a:cs typeface="Lato"/>
              </a:rPr>
              <a:t>All structure &amp; patient-level data entered for </a:t>
            </a:r>
            <a:r>
              <a:rPr lang="en-US" sz="1800" dirty="0" smtClean="0">
                <a:ea typeface="Lato"/>
                <a:cs typeface="Lato"/>
              </a:rPr>
              <a:t>Baseline-August  </a:t>
            </a:r>
            <a:r>
              <a:rPr lang="en-US" sz="1800" dirty="0">
                <a:ea typeface="Lato"/>
                <a:cs typeface="Lato"/>
              </a:rPr>
              <a:t>2023 due </a:t>
            </a:r>
            <a:r>
              <a:rPr lang="en-US" sz="1800" dirty="0" smtClean="0">
                <a:ea typeface="Lato"/>
                <a:cs typeface="Lato"/>
              </a:rPr>
              <a:t>September 22, </a:t>
            </a:r>
            <a:r>
              <a:rPr lang="en-US" sz="1800" dirty="0">
                <a:ea typeface="Lato"/>
                <a:cs typeface="Lato"/>
              </a:rPr>
              <a:t>2023, at Midnight</a:t>
            </a:r>
            <a:endParaRPr lang="en-US" sz="1800" dirty="0"/>
          </a:p>
          <a:p>
            <a:pPr>
              <a:spcAft>
                <a:spcPts val="600"/>
              </a:spcAft>
            </a:pPr>
            <a:r>
              <a:rPr lang="en-US" sz="1800" dirty="0" smtClean="0">
                <a:ea typeface="Lato"/>
                <a:cs typeface="Lato"/>
              </a:rPr>
              <a:t>Sustainability Plan Submitted</a:t>
            </a:r>
          </a:p>
          <a:p>
            <a:pPr>
              <a:spcAft>
                <a:spcPts val="600"/>
              </a:spcAft>
            </a:pPr>
            <a:r>
              <a:rPr lang="en-US" sz="1800" dirty="0" smtClean="0">
                <a:ea typeface="Lato"/>
                <a:cs typeface="Lato"/>
              </a:rPr>
              <a:t>Key </a:t>
            </a:r>
            <a:r>
              <a:rPr lang="en-US" sz="1800" dirty="0">
                <a:ea typeface="Lato"/>
                <a:cs typeface="Lato"/>
              </a:rPr>
              <a:t>Structure Measures "In Place":</a:t>
            </a:r>
          </a:p>
          <a:p>
            <a:pPr lvl="1">
              <a:spcBef>
                <a:spcPts val="0"/>
              </a:spcBef>
              <a:spcAft>
                <a:spcPts val="600"/>
              </a:spcAft>
            </a:pPr>
            <a:r>
              <a:rPr lang="en-US" sz="1400" dirty="0">
                <a:ea typeface="Lato"/>
                <a:cs typeface="Lato"/>
              </a:rPr>
              <a:t>Standardized Family Education Process</a:t>
            </a:r>
          </a:p>
          <a:p>
            <a:pPr lvl="1">
              <a:spcBef>
                <a:spcPts val="0"/>
              </a:spcBef>
              <a:spcAft>
                <a:spcPts val="600"/>
              </a:spcAft>
            </a:pPr>
            <a:r>
              <a:rPr lang="en-US" sz="1400" dirty="0">
                <a:ea typeface="Lato"/>
                <a:cs typeface="Lato"/>
              </a:rPr>
              <a:t>EOS Risk Assessment Protocols </a:t>
            </a:r>
          </a:p>
          <a:p>
            <a:pPr lvl="1">
              <a:spcBef>
                <a:spcPts val="0"/>
              </a:spcBef>
              <a:spcAft>
                <a:spcPts val="600"/>
              </a:spcAft>
            </a:pPr>
            <a:r>
              <a:rPr lang="en-US" sz="1400" dirty="0">
                <a:ea typeface="Lato"/>
                <a:cs typeface="Lato"/>
              </a:rPr>
              <a:t>Standardized Dosing Guidelines</a:t>
            </a:r>
          </a:p>
          <a:p>
            <a:pPr lvl="1">
              <a:spcBef>
                <a:spcPts val="0"/>
              </a:spcBef>
              <a:spcAft>
                <a:spcPts val="600"/>
              </a:spcAft>
            </a:pPr>
            <a:r>
              <a:rPr lang="en-US" sz="1400" dirty="0">
                <a:ea typeface="Lato"/>
                <a:cs typeface="Lato"/>
              </a:rPr>
              <a:t>Antibiotic Discussions/Time Outs Protocol</a:t>
            </a:r>
          </a:p>
          <a:p>
            <a:pPr lvl="1">
              <a:spcBef>
                <a:spcPts val="0"/>
              </a:spcBef>
              <a:spcAft>
                <a:spcPts val="600"/>
              </a:spcAft>
            </a:pPr>
            <a:r>
              <a:rPr lang="en-US" sz="1400" dirty="0">
                <a:ea typeface="Lato"/>
                <a:cs typeface="Lato"/>
              </a:rPr>
              <a:t>Standardized Automatic Stop Order Process</a:t>
            </a:r>
          </a:p>
          <a:p>
            <a:pPr>
              <a:spcAft>
                <a:spcPts val="600"/>
              </a:spcAft>
            </a:pPr>
            <a:r>
              <a:rPr lang="en-US" sz="1800" dirty="0">
                <a:ea typeface="+mn-lt"/>
                <a:cs typeface="+mn-lt"/>
              </a:rPr>
              <a:t>Achievement of </a:t>
            </a:r>
            <a:r>
              <a:rPr lang="en-US" sz="1800" dirty="0" smtClean="0">
                <a:ea typeface="+mn-lt"/>
                <a:cs typeface="+mn-lt"/>
              </a:rPr>
              <a:t>all process </a:t>
            </a:r>
            <a:r>
              <a:rPr lang="en-US" sz="1800" dirty="0">
                <a:ea typeface="+mn-lt"/>
                <a:cs typeface="+mn-lt"/>
              </a:rPr>
              <a:t>and outcome level measures (Based on </a:t>
            </a:r>
            <a:r>
              <a:rPr lang="en-US" sz="1800" dirty="0" smtClean="0">
                <a:ea typeface="+mn-lt"/>
                <a:cs typeface="+mn-lt"/>
              </a:rPr>
              <a:t>June – August 2023 </a:t>
            </a:r>
            <a:r>
              <a:rPr lang="en-US" sz="1800" dirty="0">
                <a:ea typeface="+mn-lt"/>
                <a:cs typeface="+mn-lt"/>
              </a:rPr>
              <a:t>data)</a:t>
            </a:r>
          </a:p>
          <a:p>
            <a:pPr lvl="1">
              <a:spcBef>
                <a:spcPts val="0"/>
              </a:spcBef>
              <a:spcAft>
                <a:spcPts val="600"/>
              </a:spcAft>
            </a:pPr>
            <a:r>
              <a:rPr lang="en-US" sz="1400" dirty="0">
                <a:ea typeface="+mn-lt"/>
                <a:cs typeface="+mn-lt"/>
              </a:rPr>
              <a:t>≥80% of neonatal/pediatric providers and nurses educated </a:t>
            </a:r>
            <a:endParaRPr lang="en-US" sz="1400" dirty="0">
              <a:cs typeface="+mn-lt"/>
            </a:endParaRPr>
          </a:p>
          <a:p>
            <a:pPr lvl="1">
              <a:spcBef>
                <a:spcPts val="0"/>
              </a:spcBef>
              <a:spcAft>
                <a:spcPts val="600"/>
              </a:spcAft>
            </a:pPr>
            <a:r>
              <a:rPr lang="en-US" sz="1400" dirty="0">
                <a:ea typeface="+mn-lt"/>
                <a:cs typeface="+mn-lt"/>
              </a:rPr>
              <a:t>20% reduction (or absolute rate of ≤4%) in newborns ≥35 weeks who receive antibiotics</a:t>
            </a:r>
            <a:endParaRPr lang="en-US" sz="1400" dirty="0">
              <a:cs typeface="Arial" panose="020B0604020202020204"/>
            </a:endParaRPr>
          </a:p>
          <a:p>
            <a:pPr lvl="1">
              <a:spcBef>
                <a:spcPts val="0"/>
              </a:spcBef>
              <a:spcAft>
                <a:spcPts val="600"/>
              </a:spcAft>
              <a:buFont typeface="Arial"/>
            </a:pPr>
            <a:r>
              <a:rPr lang="en-US" sz="1400" dirty="0">
                <a:ea typeface="+mn-lt"/>
                <a:cs typeface="+mn-lt"/>
              </a:rPr>
              <a:t>20% reduction in newborns with a negative blood culture who receive antibiotics for &gt;48 hours</a:t>
            </a:r>
            <a:endParaRPr lang="en-US" sz="1400" dirty="0">
              <a:cs typeface="Arial"/>
            </a:endParaRPr>
          </a:p>
          <a:p>
            <a:pPr lvl="1">
              <a:spcBef>
                <a:spcPts val="0"/>
              </a:spcBef>
              <a:spcAft>
                <a:spcPts val="600"/>
              </a:spcAft>
              <a:buFont typeface="Arial"/>
            </a:pPr>
            <a:r>
              <a:rPr lang="en-US" sz="1400" dirty="0">
                <a:ea typeface="Lato"/>
                <a:cs typeface="Arial" panose="020B0604020202020204"/>
              </a:rPr>
              <a:t>≥80% of newborns with the anticipated duration of antibiotic course discussed by clinical team (antibiotic time out)</a:t>
            </a:r>
          </a:p>
          <a:p>
            <a:pPr lvl="1">
              <a:spcBef>
                <a:spcPts val="0"/>
              </a:spcBef>
              <a:buFont typeface="Arial"/>
            </a:pPr>
            <a:r>
              <a:rPr lang="en-US" sz="1400" dirty="0">
                <a:ea typeface="Lato"/>
                <a:cs typeface="Arial" panose="020B0604020202020204"/>
              </a:rPr>
              <a:t>≥80% of newborns with an automatic stop order entered into the medical chart</a:t>
            </a:r>
            <a:endParaRPr lang="en-US" sz="1400" dirty="0">
              <a:cs typeface="Arial" panose="020B0604020202020204"/>
            </a:endParaRPr>
          </a:p>
          <a:p>
            <a:pPr lvl="1">
              <a:buFont typeface="Arial"/>
            </a:pPr>
            <a:endParaRPr lang="en-US" sz="1800" dirty="0">
              <a:cs typeface="Arial" panose="020B0604020202020204"/>
            </a:endParaRPr>
          </a:p>
          <a:p>
            <a:endParaRPr lang="en-US" sz="1800" dirty="0">
              <a:cs typeface="Arial" panose="020B0604020202020204"/>
            </a:endParaRPr>
          </a:p>
          <a:p>
            <a:endParaRPr lang="en-US" sz="1800" dirty="0">
              <a:cs typeface="Arial" panose="020B0604020202020204"/>
            </a:endParaRPr>
          </a:p>
          <a:p>
            <a:endParaRPr lang="en-US" sz="1800" dirty="0"/>
          </a:p>
        </p:txBody>
      </p:sp>
      <p:sp>
        <p:nvSpPr>
          <p:cNvPr id="4" name="Slide Number Placeholder 3"/>
          <p:cNvSpPr>
            <a:spLocks noGrp="1"/>
          </p:cNvSpPr>
          <p:nvPr>
            <p:ph type="sldNum" sz="quarter" idx="10"/>
          </p:nvPr>
        </p:nvSpPr>
        <p:spPr/>
        <p:txBody>
          <a:bodyPr/>
          <a:lstStyle/>
          <a:p>
            <a:fld id="{97033E4B-E3EB-3D46-B2D8-3159663620FA}" type="slidenum">
              <a:rPr lang="en-US" dirty="0" smtClean="0"/>
              <a:pPr/>
              <a:t>7</a:t>
            </a:fld>
            <a:endParaRPr lang="en-US"/>
          </a:p>
        </p:txBody>
      </p:sp>
      <p:sp>
        <p:nvSpPr>
          <p:cNvPr id="5" name="Footer Placeholder 4"/>
          <p:cNvSpPr>
            <a:spLocks noGrp="1"/>
          </p:cNvSpPr>
          <p:nvPr>
            <p:ph type="ftr" sz="quarter" idx="11"/>
          </p:nvPr>
        </p:nvSpPr>
        <p:spPr/>
        <p:txBody>
          <a:bodyPr/>
          <a:lstStyle/>
          <a:p>
            <a:pPr algn="l"/>
            <a:r>
              <a:rPr lang="en-US" dirty="0"/>
              <a:t>Illinois Perinatal Quality Collaborative</a:t>
            </a:r>
          </a:p>
        </p:txBody>
      </p:sp>
      <p:pic>
        <p:nvPicPr>
          <p:cNvPr id="6" name="Graphic 6" descr="Ribbon with solid fill">
            <a:extLst>
              <a:ext uri="{FF2B5EF4-FFF2-40B4-BE49-F238E27FC236}">
                <a16:creationId xmlns:a16="http://schemas.microsoft.com/office/drawing/2014/main" id="{C2665085-609E-44A8-B20F-6002F04BDECE}"/>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6031185" y="2198829"/>
            <a:ext cx="1556731" cy="1539181"/>
          </a:xfrm>
          <a:prstGeom prst="rect">
            <a:avLst/>
          </a:prstGeom>
        </p:spPr>
      </p:pic>
      <p:sp>
        <p:nvSpPr>
          <p:cNvPr id="7" name="Rounded Rectangle 6"/>
          <p:cNvSpPr/>
          <p:nvPr/>
        </p:nvSpPr>
        <p:spPr>
          <a:xfrm>
            <a:off x="7587916" y="1926315"/>
            <a:ext cx="4172825" cy="208421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u="sng" dirty="0" smtClean="0">
                <a:cs typeface="Calibri"/>
              </a:rPr>
              <a:t>Annual Conference </a:t>
            </a:r>
            <a:r>
              <a:rPr lang="en-US" b="1" u="sng" dirty="0">
                <a:cs typeface="Calibri"/>
              </a:rPr>
              <a:t>Award Criteria:</a:t>
            </a:r>
          </a:p>
          <a:p>
            <a:pPr algn="ctr"/>
            <a:endParaRPr lang="en-US" b="1" u="sng" dirty="0">
              <a:cs typeface="Calibri"/>
            </a:endParaRPr>
          </a:p>
          <a:p>
            <a:pPr marL="285750" indent="-285750">
              <a:buFontTx/>
              <a:buChar char="-"/>
            </a:pPr>
            <a:r>
              <a:rPr lang="en-US" dirty="0" smtClean="0">
                <a:cs typeface="Calibri"/>
              </a:rPr>
              <a:t>SUSTAINABILITY PLAN SUBMITTED</a:t>
            </a:r>
          </a:p>
          <a:p>
            <a:pPr marL="285750" indent="-285750">
              <a:buFontTx/>
              <a:buChar char="-"/>
            </a:pPr>
            <a:r>
              <a:rPr lang="en-US" dirty="0" smtClean="0">
                <a:cs typeface="Calibri"/>
              </a:rPr>
              <a:t>Data </a:t>
            </a:r>
            <a:r>
              <a:rPr lang="en-US" dirty="0">
                <a:cs typeface="Calibri"/>
              </a:rPr>
              <a:t>complete</a:t>
            </a:r>
          </a:p>
          <a:p>
            <a:pPr marL="285750" indent="-285750">
              <a:buFontTx/>
              <a:buChar char="-"/>
            </a:pPr>
            <a:r>
              <a:rPr lang="en-US" dirty="0">
                <a:cs typeface="Calibri"/>
              </a:rPr>
              <a:t>Key Structure measures in place</a:t>
            </a:r>
          </a:p>
          <a:p>
            <a:pPr marL="285750" indent="-285750">
              <a:buFontTx/>
              <a:buChar char="-"/>
            </a:pPr>
            <a:r>
              <a:rPr lang="en-US" dirty="0">
                <a:cs typeface="Calibri"/>
              </a:rPr>
              <a:t>Process/outcome measures achieved</a:t>
            </a:r>
          </a:p>
        </p:txBody>
      </p:sp>
    </p:spTree>
    <p:extLst>
      <p:ext uri="{BB962C8B-B14F-4D97-AF65-F5344CB8AC3E}">
        <p14:creationId xmlns:p14="http://schemas.microsoft.com/office/powerpoint/2010/main" val="28632673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ea typeface="Lato Medium"/>
                <a:cs typeface="Lato Medium"/>
              </a:rPr>
              <a:t>BASIC Updates</a:t>
            </a:r>
            <a:endParaRPr lang="en-US" dirty="0">
              <a:ea typeface="Lato Medium"/>
              <a:cs typeface="Lato Medium"/>
            </a:endParaRPr>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16502659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54D9D2-FD51-4B03-BD7A-F1350B0E301B}"/>
              </a:ext>
            </a:extLst>
          </p:cNvPr>
          <p:cNvSpPr>
            <a:spLocks noGrp="1"/>
          </p:cNvSpPr>
          <p:nvPr>
            <p:ph type="title"/>
          </p:nvPr>
        </p:nvSpPr>
        <p:spPr/>
        <p:txBody>
          <a:bodyPr/>
          <a:lstStyle/>
          <a:p>
            <a:r>
              <a:rPr lang="en-US">
                <a:ea typeface="Lato Medium"/>
                <a:cs typeface="Lato Medium"/>
              </a:rPr>
              <a:t>What We Sought to Achieve Statewide</a:t>
            </a:r>
            <a:endParaRPr lang="en-US"/>
          </a:p>
        </p:txBody>
      </p:sp>
      <p:sp>
        <p:nvSpPr>
          <p:cNvPr id="4" name="Slide Number Placeholder 3">
            <a:extLst>
              <a:ext uri="{FF2B5EF4-FFF2-40B4-BE49-F238E27FC236}">
                <a16:creationId xmlns:a16="http://schemas.microsoft.com/office/drawing/2014/main" id="{C4CEE450-F382-85B8-1007-AE56BB298F32}"/>
              </a:ext>
            </a:extLst>
          </p:cNvPr>
          <p:cNvSpPr>
            <a:spLocks noGrp="1"/>
          </p:cNvSpPr>
          <p:nvPr>
            <p:ph type="sldNum" sz="quarter" idx="10"/>
          </p:nvPr>
        </p:nvSpPr>
        <p:spPr/>
        <p:txBody>
          <a:bodyPr/>
          <a:lstStyle/>
          <a:p>
            <a:fld id="{97033E4B-E3EB-3D46-B2D8-3159663620FA}" type="slidenum">
              <a:rPr lang="en-US" dirty="0" smtClean="0"/>
              <a:pPr/>
              <a:t>9</a:t>
            </a:fld>
            <a:endParaRPr lang="en-US"/>
          </a:p>
        </p:txBody>
      </p:sp>
      <p:sp>
        <p:nvSpPr>
          <p:cNvPr id="5" name="Footer Placeholder 4">
            <a:extLst>
              <a:ext uri="{FF2B5EF4-FFF2-40B4-BE49-F238E27FC236}">
                <a16:creationId xmlns:a16="http://schemas.microsoft.com/office/drawing/2014/main" id="{D78FCC0D-964B-6184-D355-259732ED254B}"/>
              </a:ext>
            </a:extLst>
          </p:cNvPr>
          <p:cNvSpPr>
            <a:spLocks noGrp="1"/>
          </p:cNvSpPr>
          <p:nvPr>
            <p:ph type="ftr" sz="quarter" idx="11"/>
          </p:nvPr>
        </p:nvSpPr>
        <p:spPr/>
        <p:txBody>
          <a:bodyPr/>
          <a:lstStyle/>
          <a:p>
            <a:pPr algn="l"/>
            <a:r>
              <a:rPr lang="en-US"/>
              <a:t>Illinois Perinatal Quality Collaborative</a:t>
            </a:r>
          </a:p>
        </p:txBody>
      </p:sp>
      <p:sp>
        <p:nvSpPr>
          <p:cNvPr id="6" name="Content Placeholder 4">
            <a:extLst>
              <a:ext uri="{FF2B5EF4-FFF2-40B4-BE49-F238E27FC236}">
                <a16:creationId xmlns:a16="http://schemas.microsoft.com/office/drawing/2014/main" id="{2DBC0655-4625-EAAF-4E00-19D2579BD749}"/>
              </a:ext>
            </a:extLst>
          </p:cNvPr>
          <p:cNvSpPr>
            <a:spLocks noGrp="1"/>
          </p:cNvSpPr>
          <p:nvPr/>
        </p:nvSpPr>
        <p:spPr>
          <a:xfrm>
            <a:off x="609600" y="1681935"/>
            <a:ext cx="10972800" cy="1668895"/>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a:ea typeface="Lato"/>
                <a:cs typeface="Lato"/>
              </a:rPr>
              <a:t>Decrease the number of newborns born at ≥35 weeks who receive antibiotics</a:t>
            </a:r>
          </a:p>
          <a:p>
            <a:r>
              <a:rPr lang="en-US" sz="2800">
                <a:ea typeface="Lato"/>
                <a:cs typeface="Lato"/>
              </a:rPr>
              <a:t>Decrease number of newborns with a negative blood culture who receive antibiotics for longer than 36 hours</a:t>
            </a:r>
          </a:p>
          <a:p>
            <a:endParaRPr lang="en-US"/>
          </a:p>
          <a:p>
            <a:endParaRPr lang="en-US"/>
          </a:p>
          <a:p>
            <a:endParaRPr lang="en-US"/>
          </a:p>
          <a:p>
            <a:endParaRPr lang="en-US"/>
          </a:p>
          <a:p>
            <a:endParaRPr lang="en-US"/>
          </a:p>
        </p:txBody>
      </p:sp>
      <p:pic>
        <p:nvPicPr>
          <p:cNvPr id="7" name="Picture 6">
            <a:extLst>
              <a:ext uri="{FF2B5EF4-FFF2-40B4-BE49-F238E27FC236}">
                <a16:creationId xmlns:a16="http://schemas.microsoft.com/office/drawing/2014/main" id="{591399D3-DB33-C78A-4CD1-DE99C35CF2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93018" y="3500701"/>
            <a:ext cx="7813271" cy="1937494"/>
          </a:xfrm>
          <a:prstGeom prst="rect">
            <a:avLst/>
          </a:prstGeom>
        </p:spPr>
      </p:pic>
      <p:sp>
        <p:nvSpPr>
          <p:cNvPr id="8" name="Rectangle 7">
            <a:extLst>
              <a:ext uri="{FF2B5EF4-FFF2-40B4-BE49-F238E27FC236}">
                <a16:creationId xmlns:a16="http://schemas.microsoft.com/office/drawing/2014/main" id="{7DB506E4-7D59-3B5E-7BA4-66710AF001F6}"/>
              </a:ext>
            </a:extLst>
          </p:cNvPr>
          <p:cNvSpPr/>
          <p:nvPr/>
        </p:nvSpPr>
        <p:spPr>
          <a:xfrm>
            <a:off x="609600" y="5438195"/>
            <a:ext cx="11470001" cy="584775"/>
          </a:xfrm>
          <a:prstGeom prst="rect">
            <a:avLst/>
          </a:prstGeom>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3200"/>
              <a:t>The </a:t>
            </a:r>
            <a:r>
              <a:rPr lang="en-US" sz="3200" b="1" u="sng"/>
              <a:t>Right Antibiotic</a:t>
            </a:r>
            <a:r>
              <a:rPr lang="en-US" sz="3200" b="1"/>
              <a:t> </a:t>
            </a:r>
            <a:r>
              <a:rPr lang="en-US" sz="3200"/>
              <a:t>for the </a:t>
            </a:r>
            <a:r>
              <a:rPr lang="en-US" sz="3200" b="1" u="sng"/>
              <a:t>Right Baby</a:t>
            </a:r>
            <a:r>
              <a:rPr lang="en-US" sz="3200" b="1"/>
              <a:t> </a:t>
            </a:r>
            <a:r>
              <a:rPr lang="en-US" sz="3200"/>
              <a:t>for the </a:t>
            </a:r>
            <a:r>
              <a:rPr lang="en-US" sz="3200" b="1" u="sng"/>
              <a:t>Right Length of Time</a:t>
            </a:r>
            <a:endParaRPr lang="en-US" sz="3200" b="1" u="sng">
              <a:cs typeface="Calibri"/>
            </a:endParaRPr>
          </a:p>
        </p:txBody>
      </p:sp>
    </p:spTree>
    <p:extLst>
      <p:ext uri="{BB962C8B-B14F-4D97-AF65-F5344CB8AC3E}">
        <p14:creationId xmlns:p14="http://schemas.microsoft.com/office/powerpoint/2010/main" val="19892793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LPQC presentation template" id="{35224A54-0256-BC4D-BA49-E4C8CBDEF290}" vid="{6F8BB9A5-9E34-5741-BA29-5AC8BAD13B37}"/>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SF-Blue-Green-Bottom-Lef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a:lstStyle>
        <a:defPPr>
          <a:defRPr b="0" dirty="0" smtClean="0">
            <a:solidFill>
              <a:srgbClr val="32A4D7"/>
            </a:solidFill>
          </a:defRPr>
        </a:defPPr>
      </a:lstStyle>
    </a:txDef>
  </a:objectDefaults>
  <a:extraClrSchemeLst/>
</a:theme>
</file>

<file path=ppt/theme/theme3.xml><?xml version="1.0" encoding="utf-8"?>
<a:theme xmlns:a="http://schemas.openxmlformats.org/drawingml/2006/main" name="5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SF-Blue-Green-Bottom-Lef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a:lstStyle>
        <a:defPPr>
          <a:defRPr b="0" dirty="0" smtClean="0">
            <a:solidFill>
              <a:srgbClr val="32A4D7"/>
            </a:solidFill>
          </a:defRPr>
        </a:defPPr>
      </a:lstStyle>
    </a:txDef>
  </a:objectDefaults>
  <a:extraClrSchemeLst/>
</a:theme>
</file>

<file path=ppt/theme/theme5.xml><?xml version="1.0" encoding="utf-8"?>
<a:theme xmlns:a="http://schemas.openxmlformats.org/drawingml/2006/main" name="OSF-Blue-Green-Full">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a:lstStyle>
        <a:defPPr>
          <a:defRPr b="0" dirty="0" smtClean="0">
            <a:solidFill>
              <a:srgbClr val="32A4D7"/>
            </a:solidFill>
          </a:defRPr>
        </a:defPPr>
      </a:lstStyle>
    </a:txDef>
  </a:objectDefaults>
  <a:extraClrSchemeLst/>
</a:theme>
</file>

<file path=ppt/theme/theme6.xml><?xml version="1.0" encoding="utf-8"?>
<a:theme xmlns:a="http://schemas.openxmlformats.org/drawingml/2006/main" name="B">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Custom">
  <a:themeElements>
    <a:clrScheme name="Custom 13">
      <a:dk1>
        <a:srgbClr val="000000"/>
      </a:dk1>
      <a:lt1>
        <a:srgbClr val="FDFAF6"/>
      </a:lt1>
      <a:dk2>
        <a:srgbClr val="44546A"/>
      </a:dk2>
      <a:lt2>
        <a:srgbClr val="E7E6E6"/>
      </a:lt2>
      <a:accent1>
        <a:srgbClr val="F5CDCE"/>
      </a:accent1>
      <a:accent2>
        <a:srgbClr val="DE8C8C"/>
      </a:accent2>
      <a:accent3>
        <a:srgbClr val="AAC3E8"/>
      </a:accent3>
      <a:accent4>
        <a:srgbClr val="D2D592"/>
      </a:accent4>
      <a:accent5>
        <a:srgbClr val="CCBE89"/>
      </a:accent5>
      <a:accent6>
        <a:srgbClr val="1F2C8F"/>
      </a:accent6>
      <a:hlink>
        <a:srgbClr val="1F2C8F"/>
      </a:hlink>
      <a:folHlink>
        <a:srgbClr val="AAC3E9"/>
      </a:folHlink>
    </a:clrScheme>
    <a:fontScheme name="Custom 22">
      <a:majorFont>
        <a:latin typeface="Arial Black"/>
        <a:ea typeface=""/>
        <a:cs typeface=""/>
      </a:majorFont>
      <a:minorFont>
        <a:latin typeface="Sabon Next L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eometric-Color-Block_Win32_jx_v9" id="{2F95B383-2EBA-4D92-A5FB-15AB92E0DD44}" vid="{86105DA6-E613-46C4-BC07-43C4C2AF6514}"/>
    </a:ext>
  </a:extLst>
</a:theme>
</file>

<file path=ppt/theme/theme8.xml><?xml version="1.0" encoding="utf-8"?>
<a:theme xmlns:a="http://schemas.openxmlformats.org/drawingml/2006/main" name="1_Office Theme">
  <a:themeElements>
    <a:clrScheme name="Genesis">
      <a:dk1>
        <a:sysClr val="windowText" lastClr="000000"/>
      </a:dk1>
      <a:lt1>
        <a:sysClr val="window" lastClr="FFFFFF"/>
      </a:lt1>
      <a:dk2>
        <a:srgbClr val="465466"/>
      </a:dk2>
      <a:lt2>
        <a:srgbClr val="BBD7F8"/>
      </a:lt2>
      <a:accent1>
        <a:srgbClr val="80B606"/>
      </a:accent1>
      <a:accent2>
        <a:srgbClr val="E29F1D"/>
      </a:accent2>
      <a:accent3>
        <a:srgbClr val="2397E2"/>
      </a:accent3>
      <a:accent4>
        <a:srgbClr val="35ACA2"/>
      </a:accent4>
      <a:accent5>
        <a:srgbClr val="5430BB"/>
      </a:accent5>
      <a:accent6>
        <a:srgbClr val="8D34E0"/>
      </a:accent6>
      <a:hlink>
        <a:srgbClr val="00B0F0"/>
      </a:hlink>
      <a:folHlink>
        <a:srgbClr val="0070C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Office Theme">
  <a:themeElements>
    <a:clrScheme name="Genesis">
      <a:dk1>
        <a:sysClr val="windowText" lastClr="000000"/>
      </a:dk1>
      <a:lt1>
        <a:sysClr val="window" lastClr="FFFFFF"/>
      </a:lt1>
      <a:dk2>
        <a:srgbClr val="465466"/>
      </a:dk2>
      <a:lt2>
        <a:srgbClr val="BBD7F8"/>
      </a:lt2>
      <a:accent1>
        <a:srgbClr val="80B606"/>
      </a:accent1>
      <a:accent2>
        <a:srgbClr val="E29F1D"/>
      </a:accent2>
      <a:accent3>
        <a:srgbClr val="2397E2"/>
      </a:accent3>
      <a:accent4>
        <a:srgbClr val="35ACA2"/>
      </a:accent4>
      <a:accent5>
        <a:srgbClr val="5430BB"/>
      </a:accent5>
      <a:accent6>
        <a:srgbClr val="8D34E0"/>
      </a:accent6>
      <a:hlink>
        <a:srgbClr val="00B0F0"/>
      </a:hlink>
      <a:folHlink>
        <a:srgbClr val="0070C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E092A4705BA2B4F932736A1725E6E61" ma:contentTypeVersion="7" ma:contentTypeDescription="Create a new document." ma:contentTypeScope="" ma:versionID="b89e027da8b70b0c7ced12356dfc27d0">
  <xsd:schema xmlns:xsd="http://www.w3.org/2001/XMLSchema" xmlns:xs="http://www.w3.org/2001/XMLSchema" xmlns:p="http://schemas.microsoft.com/office/2006/metadata/properties" xmlns:ns3="40e6e514-d900-4268-895b-c4602e757f8e" xmlns:ns4="141bf384-ae1f-47bb-b28c-d3a08b6696de" targetNamespace="http://schemas.microsoft.com/office/2006/metadata/properties" ma:root="true" ma:fieldsID="13f2bf8b8c16bb4670e78c9af8927363" ns3:_="" ns4:_="">
    <xsd:import namespace="40e6e514-d900-4268-895b-c4602e757f8e"/>
    <xsd:import namespace="141bf384-ae1f-47bb-b28c-d3a08b6696de"/>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0e6e514-d900-4268-895b-c4602e757f8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41bf384-ae1f-47bb-b28c-d3a08b6696de"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EA6B24F-CA13-4265-94F0-0289F8ADAE46}">
  <ds:schemaRefs>
    <ds:schemaRef ds:uri="http://schemas.microsoft.com/sharepoint/v3/contenttype/forms"/>
  </ds:schemaRefs>
</ds:datastoreItem>
</file>

<file path=customXml/itemProps2.xml><?xml version="1.0" encoding="utf-8"?>
<ds:datastoreItem xmlns:ds="http://schemas.openxmlformats.org/officeDocument/2006/customXml" ds:itemID="{4F7363A4-08E5-4DD1-B2E8-CB0826193FDA}">
  <ds:schemaRefs>
    <ds:schemaRef ds:uri="http://www.w3.org/XML/1998/namespace"/>
    <ds:schemaRef ds:uri="http://purl.org/dc/elements/1.1/"/>
    <ds:schemaRef ds:uri="http://schemas.microsoft.com/office/2006/metadata/properties"/>
    <ds:schemaRef ds:uri="40e6e514-d900-4268-895b-c4602e757f8e"/>
    <ds:schemaRef ds:uri="http://purl.org/dc/dcmitype/"/>
    <ds:schemaRef ds:uri="http://schemas.microsoft.com/office/2006/documentManagement/types"/>
    <ds:schemaRef ds:uri="http://schemas.microsoft.com/office/infopath/2007/PartnerControls"/>
    <ds:schemaRef ds:uri="http://schemas.openxmlformats.org/package/2006/metadata/core-properties"/>
    <ds:schemaRef ds:uri="141bf384-ae1f-47bb-b28c-d3a08b6696de"/>
    <ds:schemaRef ds:uri="http://purl.org/dc/terms/"/>
  </ds:schemaRefs>
</ds:datastoreItem>
</file>

<file path=customXml/itemProps3.xml><?xml version="1.0" encoding="utf-8"?>
<ds:datastoreItem xmlns:ds="http://schemas.openxmlformats.org/officeDocument/2006/customXml" ds:itemID="{4126E3D2-C7E9-43B6-8B4F-B6A79E99306A}">
  <ds:schemaRefs>
    <ds:schemaRef ds:uri="141bf384-ae1f-47bb-b28c-d3a08b6696de"/>
    <ds:schemaRef ds:uri="40e6e514-d900-4268-895b-c4602e757f8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54</TotalTime>
  <Words>2559</Words>
  <Application>Microsoft Office PowerPoint</Application>
  <PresentationFormat>Widescreen</PresentationFormat>
  <Paragraphs>324</Paragraphs>
  <Slides>42</Slides>
  <Notes>10</Notes>
  <HiddenSlides>0</HiddenSlides>
  <MMClips>0</MMClips>
  <ScaleCrop>false</ScaleCrop>
  <HeadingPairs>
    <vt:vector size="8" baseType="variant">
      <vt:variant>
        <vt:lpstr>Fonts Used</vt:lpstr>
      </vt:variant>
      <vt:variant>
        <vt:i4>17</vt:i4>
      </vt:variant>
      <vt:variant>
        <vt:lpstr>Theme</vt:lpstr>
      </vt:variant>
      <vt:variant>
        <vt:i4>9</vt:i4>
      </vt:variant>
      <vt:variant>
        <vt:lpstr>Embedded OLE Servers</vt:lpstr>
      </vt:variant>
      <vt:variant>
        <vt:i4>1</vt:i4>
      </vt:variant>
      <vt:variant>
        <vt:lpstr>Slide Titles</vt:lpstr>
      </vt:variant>
      <vt:variant>
        <vt:i4>42</vt:i4>
      </vt:variant>
    </vt:vector>
  </HeadingPairs>
  <TitlesOfParts>
    <vt:vector size="69" baseType="lpstr">
      <vt:lpstr>MS PGothic</vt:lpstr>
      <vt:lpstr>Arial</vt:lpstr>
      <vt:lpstr>Arial Black</vt:lpstr>
      <vt:lpstr>Arial Regular</vt:lpstr>
      <vt:lpstr>Arial,Sans-Serif</vt:lpstr>
      <vt:lpstr>Calibri</vt:lpstr>
      <vt:lpstr>Calibri Light</vt:lpstr>
      <vt:lpstr>Courier New</vt:lpstr>
      <vt:lpstr>Georgia</vt:lpstr>
      <vt:lpstr>Helvetica Neue Medium</vt:lpstr>
      <vt:lpstr>Lato</vt:lpstr>
      <vt:lpstr>Lato Medium</vt:lpstr>
      <vt:lpstr>メイリオ</vt:lpstr>
      <vt:lpstr>Sabon Next LT</vt:lpstr>
      <vt:lpstr>Times</vt:lpstr>
      <vt:lpstr>Verdana</vt:lpstr>
      <vt:lpstr>Wingdings</vt:lpstr>
      <vt:lpstr>2_Office Theme</vt:lpstr>
      <vt:lpstr>OSF-Blue-Green-Bottom-Left</vt:lpstr>
      <vt:lpstr>5_Office Theme</vt:lpstr>
      <vt:lpstr>OSF-Blue-Green-Bottom-Left</vt:lpstr>
      <vt:lpstr>OSF-Blue-Green-Full</vt:lpstr>
      <vt:lpstr>B</vt:lpstr>
      <vt:lpstr>Custom</vt:lpstr>
      <vt:lpstr>1_Office Theme</vt:lpstr>
      <vt:lpstr>Office Theme</vt:lpstr>
      <vt:lpstr>think-cell Slide</vt:lpstr>
      <vt:lpstr>BASIC Monthly Teams Call:  Moving to Sustainability</vt:lpstr>
      <vt:lpstr>Call Overview</vt:lpstr>
      <vt:lpstr>Registration  Coming Soon!</vt:lpstr>
      <vt:lpstr>E.N.G.A.G.E. in ILPQC's Annual Conference 2023</vt:lpstr>
      <vt:lpstr>Upcoming Annual Conference Prep</vt:lpstr>
      <vt:lpstr>11th Annual Conference  Planning Committee Volunteers </vt:lpstr>
      <vt:lpstr>BASIC QI Excellence Awards</vt:lpstr>
      <vt:lpstr>BASIC Updates</vt:lpstr>
      <vt:lpstr>What We Sought to Achieve Statewide</vt:lpstr>
      <vt:lpstr>BASIC Data Submission Status</vt:lpstr>
      <vt:lpstr>BASIC Data Results: ABX Prescribing ≥35 Weeks</vt:lpstr>
      <vt:lpstr>BASIC Data Results: ABX Time Out</vt:lpstr>
      <vt:lpstr>BASIC Data Results: ABX Stop Time</vt:lpstr>
      <vt:lpstr>BASIC Data Results: ABX with Negative  BC Stopped by 36 hours ≥35 Weeks</vt:lpstr>
      <vt:lpstr>Ensuring Your BASIC Team is in Sustainability</vt:lpstr>
      <vt:lpstr>Steps for Sustainability</vt:lpstr>
      <vt:lpstr>BASIC Sustainability Plan</vt:lpstr>
      <vt:lpstr>BASIC Sustainability Plan </vt:lpstr>
      <vt:lpstr>BASIC Sustainability Plan </vt:lpstr>
      <vt:lpstr>BASIC Sustainability Plan </vt:lpstr>
      <vt:lpstr>BASIC Sustainability  Check-In Worksheet</vt:lpstr>
      <vt:lpstr>BASIC Sustainability Form  Key Questions/Updates</vt:lpstr>
      <vt:lpstr>BASIC Team Talks</vt:lpstr>
      <vt:lpstr>MEMORIAL hOSPital - shiloh </vt:lpstr>
      <vt:lpstr>Special Care Nursery</vt:lpstr>
      <vt:lpstr>GOALS</vt:lpstr>
      <vt:lpstr>GOALS</vt:lpstr>
      <vt:lpstr>HOW WE ACHIEVED</vt:lpstr>
      <vt:lpstr>NEW HIRE EDUCATION</vt:lpstr>
      <vt:lpstr>Moving forward </vt:lpstr>
      <vt:lpstr>PowerPoint Presentation</vt:lpstr>
      <vt:lpstr>Hospital Demographics</vt:lpstr>
      <vt:lpstr>It’s was BASICally a success</vt:lpstr>
      <vt:lpstr>Sepsis Calculator Effect on “well-appearing” babies receiving antibiotics at RUMC</vt:lpstr>
      <vt:lpstr>Opportunities</vt:lpstr>
      <vt:lpstr>Sustainability Plan</vt:lpstr>
      <vt:lpstr>Sustainability Plan</vt:lpstr>
      <vt:lpstr>Sustainability Plan</vt:lpstr>
      <vt:lpstr>Sustainability Plan</vt:lpstr>
      <vt:lpstr>Our team will keep an eye on the  BASICs</vt:lpstr>
      <vt:lpstr>BASIC Next Steps</vt:lpstr>
      <vt:lpstr>BASIC Sustainability Plans for 2023</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LPQC Babies Antibiotic Stewardship Improvement Collaborative</dc:title>
  <dc:creator>Eileen Fleming Suse</dc:creator>
  <cp:lastModifiedBy>Eileen Fleming Suse</cp:lastModifiedBy>
  <cp:revision>113</cp:revision>
  <dcterms:created xsi:type="dcterms:W3CDTF">2022-01-06T17:07:16Z</dcterms:created>
  <dcterms:modified xsi:type="dcterms:W3CDTF">2023-08-21T13:23: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E092A4705BA2B4F932736A1725E6E61</vt:lpwstr>
  </property>
</Properties>
</file>